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1" r:id="rId5"/>
  </p:sldMasterIdLst>
  <p:notesMasterIdLst>
    <p:notesMasterId r:id="rId38"/>
  </p:notesMasterIdLst>
  <p:handoutMasterIdLst>
    <p:handoutMasterId r:id="rId39"/>
  </p:handoutMasterIdLst>
  <p:sldIdLst>
    <p:sldId id="285" r:id="rId6"/>
    <p:sldId id="398" r:id="rId7"/>
    <p:sldId id="446" r:id="rId8"/>
    <p:sldId id="447" r:id="rId9"/>
    <p:sldId id="412" r:id="rId10"/>
    <p:sldId id="456" r:id="rId11"/>
    <p:sldId id="457" r:id="rId12"/>
    <p:sldId id="427" r:id="rId13"/>
    <p:sldId id="460" r:id="rId14"/>
    <p:sldId id="424" r:id="rId15"/>
    <p:sldId id="411" r:id="rId16"/>
    <p:sldId id="454" r:id="rId17"/>
    <p:sldId id="449" r:id="rId18"/>
    <p:sldId id="448" r:id="rId19"/>
    <p:sldId id="380" r:id="rId20"/>
    <p:sldId id="450" r:id="rId21"/>
    <p:sldId id="451" r:id="rId22"/>
    <p:sldId id="452" r:id="rId23"/>
    <p:sldId id="453" r:id="rId24"/>
    <p:sldId id="415" r:id="rId25"/>
    <p:sldId id="455" r:id="rId26"/>
    <p:sldId id="383" r:id="rId27"/>
    <p:sldId id="458" r:id="rId28"/>
    <p:sldId id="436" r:id="rId29"/>
    <p:sldId id="419" r:id="rId30"/>
    <p:sldId id="445" r:id="rId31"/>
    <p:sldId id="459" r:id="rId32"/>
    <p:sldId id="417" r:id="rId33"/>
    <p:sldId id="402" r:id="rId34"/>
    <p:sldId id="410" r:id="rId35"/>
    <p:sldId id="388" r:id="rId36"/>
    <p:sldId id="389" r:id="rId37"/>
  </p:sldIdLst>
  <p:sldSz cx="9144000" cy="6858000" type="screen4x3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8207"/>
    <a:srgbClr val="E7ECF0"/>
    <a:srgbClr val="869FB5"/>
    <a:srgbClr val="45688B"/>
    <a:srgbClr val="005DAB"/>
    <a:srgbClr val="2E465E"/>
    <a:srgbClr val="ACBFD0"/>
    <a:srgbClr val="F8981C"/>
    <a:srgbClr val="934E15"/>
    <a:srgbClr val="D77E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A05E9E-2D08-40CB-93E8-F21758CC8115}" v="1106" dt="2025-05-19T20:39:31.8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159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tags" Target="tags/tag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Relationship Id="rId46" Type="http://schemas.microsoft.com/office/2015/10/relationships/revisionInfo" Target="revisionInfo.xml"/><Relationship Id="rId20" Type="http://schemas.openxmlformats.org/officeDocument/2006/relationships/slide" Target="slides/slide15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oertz, Benjamin" userId="7bbcdc09-a17a-459e-9ed5-6cf1c589f103" providerId="ADAL" clId="{F2EAE58B-9B0D-4AE2-98DD-CB59303F810A}"/>
    <pc:docChg chg="undo custSel addSld delSld modSld sldOrd">
      <pc:chgData name="Goertz, Benjamin" userId="7bbcdc09-a17a-459e-9ed5-6cf1c589f103" providerId="ADAL" clId="{F2EAE58B-9B0D-4AE2-98DD-CB59303F810A}" dt="2025-04-10T16:35:25.948" v="2479" actId="113"/>
      <pc:docMkLst>
        <pc:docMk/>
      </pc:docMkLst>
      <pc:sldChg chg="modSp mod">
        <pc:chgData name="Goertz, Benjamin" userId="7bbcdc09-a17a-459e-9ed5-6cf1c589f103" providerId="ADAL" clId="{F2EAE58B-9B0D-4AE2-98DD-CB59303F810A}" dt="2025-04-03T12:33:25.006" v="15" actId="20577"/>
        <pc:sldMkLst>
          <pc:docMk/>
          <pc:sldMk cId="2617501420" sldId="285"/>
        </pc:sldMkLst>
        <pc:spChg chg="mod">
          <ac:chgData name="Goertz, Benjamin" userId="7bbcdc09-a17a-459e-9ed5-6cf1c589f103" providerId="ADAL" clId="{F2EAE58B-9B0D-4AE2-98DD-CB59303F810A}" dt="2025-04-03T12:33:18.100" v="9" actId="20577"/>
          <ac:spMkLst>
            <pc:docMk/>
            <pc:sldMk cId="2617501420" sldId="285"/>
            <ac:spMk id="2" creationId="{30F62D0F-4856-B62B-7439-10D0D1F4AF38}"/>
          </ac:spMkLst>
        </pc:spChg>
        <pc:spChg chg="mod">
          <ac:chgData name="Goertz, Benjamin" userId="7bbcdc09-a17a-459e-9ed5-6cf1c589f103" providerId="ADAL" clId="{F2EAE58B-9B0D-4AE2-98DD-CB59303F810A}" dt="2025-04-03T12:33:25.006" v="15" actId="20577"/>
          <ac:spMkLst>
            <pc:docMk/>
            <pc:sldMk cId="2617501420" sldId="285"/>
            <ac:spMk id="3" creationId="{7F8EF732-D959-ECB3-00B1-C75B74F6A1F7}"/>
          </ac:spMkLst>
        </pc:spChg>
      </pc:sldChg>
      <pc:sldChg chg="addSp delSp modSp mod ord">
        <pc:chgData name="Goertz, Benjamin" userId="7bbcdc09-a17a-459e-9ed5-6cf1c589f103" providerId="ADAL" clId="{F2EAE58B-9B0D-4AE2-98DD-CB59303F810A}" dt="2025-04-08T16:11:18.771" v="318" actId="14100"/>
        <pc:sldMkLst>
          <pc:docMk/>
          <pc:sldMk cId="3010647946" sldId="379"/>
        </pc:sldMkLst>
      </pc:sldChg>
      <pc:sldChg chg="addSp delSp modSp mod">
        <pc:chgData name="Goertz, Benjamin" userId="7bbcdc09-a17a-459e-9ed5-6cf1c589f103" providerId="ADAL" clId="{F2EAE58B-9B0D-4AE2-98DD-CB59303F810A}" dt="2025-04-08T16:13:41.497" v="322" actId="14100"/>
        <pc:sldMkLst>
          <pc:docMk/>
          <pc:sldMk cId="2925639666" sldId="380"/>
        </pc:sldMkLst>
      </pc:sldChg>
      <pc:sldChg chg="addSp delSp modSp mod">
        <pc:chgData name="Goertz, Benjamin" userId="7bbcdc09-a17a-459e-9ed5-6cf1c589f103" providerId="ADAL" clId="{F2EAE58B-9B0D-4AE2-98DD-CB59303F810A}" dt="2025-04-08T16:36:46.919" v="410" actId="1076"/>
        <pc:sldMkLst>
          <pc:docMk/>
          <pc:sldMk cId="964538404" sldId="382"/>
        </pc:sldMkLst>
      </pc:sldChg>
      <pc:sldChg chg="addSp delSp modSp mod">
        <pc:chgData name="Goertz, Benjamin" userId="7bbcdc09-a17a-459e-9ed5-6cf1c589f103" providerId="ADAL" clId="{F2EAE58B-9B0D-4AE2-98DD-CB59303F810A}" dt="2025-04-08T16:44:49.388" v="464" actId="1076"/>
        <pc:sldMkLst>
          <pc:docMk/>
          <pc:sldMk cId="4080278820" sldId="383"/>
        </pc:sldMkLst>
        <pc:spChg chg="mod">
          <ac:chgData name="Goertz, Benjamin" userId="7bbcdc09-a17a-459e-9ed5-6cf1c589f103" providerId="ADAL" clId="{F2EAE58B-9B0D-4AE2-98DD-CB59303F810A}" dt="2025-04-08T16:44:40.333" v="460" actId="26606"/>
          <ac:spMkLst>
            <pc:docMk/>
            <pc:sldMk cId="4080278820" sldId="383"/>
            <ac:spMk id="2" creationId="{62775AD6-3705-F2B4-89CD-3C0788C08160}"/>
          </ac:spMkLst>
        </pc:spChg>
      </pc:sldChg>
      <pc:sldChg chg="del">
        <pc:chgData name="Goertz, Benjamin" userId="7bbcdc09-a17a-459e-9ed5-6cf1c589f103" providerId="ADAL" clId="{F2EAE58B-9B0D-4AE2-98DD-CB59303F810A}" dt="2025-04-03T16:21:42.380" v="34" actId="47"/>
        <pc:sldMkLst>
          <pc:docMk/>
          <pc:sldMk cId="2742329154" sldId="385"/>
        </pc:sldMkLst>
      </pc:sldChg>
      <pc:sldChg chg="modSp mod">
        <pc:chgData name="Goertz, Benjamin" userId="7bbcdc09-a17a-459e-9ed5-6cf1c589f103" providerId="ADAL" clId="{F2EAE58B-9B0D-4AE2-98DD-CB59303F810A}" dt="2025-04-09T19:50:19.139" v="2073" actId="20577"/>
        <pc:sldMkLst>
          <pc:docMk/>
          <pc:sldMk cId="355468932" sldId="389"/>
        </pc:sldMkLst>
        <pc:spChg chg="mod">
          <ac:chgData name="Goertz, Benjamin" userId="7bbcdc09-a17a-459e-9ed5-6cf1c589f103" providerId="ADAL" clId="{F2EAE58B-9B0D-4AE2-98DD-CB59303F810A}" dt="2025-04-09T19:50:19.139" v="2073" actId="20577"/>
          <ac:spMkLst>
            <pc:docMk/>
            <pc:sldMk cId="355468932" sldId="389"/>
            <ac:spMk id="2" creationId="{3C2356A1-11D8-103E-69B5-EEB735A8DE52}"/>
          </ac:spMkLst>
        </pc:spChg>
      </pc:sldChg>
      <pc:sldChg chg="modSp mod">
        <pc:chgData name="Goertz, Benjamin" userId="7bbcdc09-a17a-459e-9ed5-6cf1c589f103" providerId="ADAL" clId="{F2EAE58B-9B0D-4AE2-98DD-CB59303F810A}" dt="2025-04-08T18:05:50.835" v="511"/>
        <pc:sldMkLst>
          <pc:docMk/>
          <pc:sldMk cId="3638532360" sldId="394"/>
        </pc:sldMkLst>
      </pc:sldChg>
      <pc:sldChg chg="delSp modSp del mod">
        <pc:chgData name="Goertz, Benjamin" userId="7bbcdc09-a17a-459e-9ed5-6cf1c589f103" providerId="ADAL" clId="{F2EAE58B-9B0D-4AE2-98DD-CB59303F810A}" dt="2025-04-03T16:20:52.222" v="21" actId="47"/>
        <pc:sldMkLst>
          <pc:docMk/>
          <pc:sldMk cId="4114435865" sldId="404"/>
        </pc:sldMkLst>
      </pc:sldChg>
      <pc:sldChg chg="modSp mod">
        <pc:chgData name="Goertz, Benjamin" userId="7bbcdc09-a17a-459e-9ed5-6cf1c589f103" providerId="ADAL" clId="{F2EAE58B-9B0D-4AE2-98DD-CB59303F810A}" dt="2025-04-03T16:22:18.003" v="50" actId="20577"/>
        <pc:sldMkLst>
          <pc:docMk/>
          <pc:sldMk cId="79483094" sldId="410"/>
        </pc:sldMkLst>
        <pc:spChg chg="mod">
          <ac:chgData name="Goertz, Benjamin" userId="7bbcdc09-a17a-459e-9ed5-6cf1c589f103" providerId="ADAL" clId="{F2EAE58B-9B0D-4AE2-98DD-CB59303F810A}" dt="2025-04-03T16:22:18.003" v="50" actId="20577"/>
          <ac:spMkLst>
            <pc:docMk/>
            <pc:sldMk cId="79483094" sldId="410"/>
            <ac:spMk id="8" creationId="{D80018B4-8BFB-30DB-1CA4-6165FA21D0A8}"/>
          </ac:spMkLst>
        </pc:spChg>
      </pc:sldChg>
      <pc:sldChg chg="addSp delSp modSp mod">
        <pc:chgData name="Goertz, Benjamin" userId="7bbcdc09-a17a-459e-9ed5-6cf1c589f103" providerId="ADAL" clId="{F2EAE58B-9B0D-4AE2-98DD-CB59303F810A}" dt="2025-04-08T16:09:53.581" v="313" actId="14100"/>
        <pc:sldMkLst>
          <pc:docMk/>
          <pc:sldMk cId="73004473" sldId="411"/>
        </pc:sldMkLst>
      </pc:sldChg>
      <pc:sldChg chg="addSp delSp modSp mod">
        <pc:chgData name="Goertz, Benjamin" userId="7bbcdc09-a17a-459e-9ed5-6cf1c589f103" providerId="ADAL" clId="{F2EAE58B-9B0D-4AE2-98DD-CB59303F810A}" dt="2025-04-08T16:02:06.518" v="308" actId="1076"/>
        <pc:sldMkLst>
          <pc:docMk/>
          <pc:sldMk cId="423919767" sldId="412"/>
        </pc:sldMkLst>
        <pc:spChg chg="mod">
          <ac:chgData name="Goertz, Benjamin" userId="7bbcdc09-a17a-459e-9ed5-6cf1c589f103" providerId="ADAL" clId="{F2EAE58B-9B0D-4AE2-98DD-CB59303F810A}" dt="2025-04-07T14:22:23.881" v="75" actId="20577"/>
          <ac:spMkLst>
            <pc:docMk/>
            <pc:sldMk cId="423919767" sldId="412"/>
            <ac:spMk id="2" creationId="{19B19876-F2A6-AE9F-65E6-59B02FE37C2C}"/>
          </ac:spMkLst>
        </pc:spChg>
      </pc:sldChg>
      <pc:sldChg chg="del">
        <pc:chgData name="Goertz, Benjamin" userId="7bbcdc09-a17a-459e-9ed5-6cf1c589f103" providerId="ADAL" clId="{F2EAE58B-9B0D-4AE2-98DD-CB59303F810A}" dt="2025-04-03T16:20:54.485" v="22" actId="47"/>
        <pc:sldMkLst>
          <pc:docMk/>
          <pc:sldMk cId="1369179782" sldId="413"/>
        </pc:sldMkLst>
      </pc:sldChg>
      <pc:sldChg chg="addSp delSp modSp mod">
        <pc:chgData name="Goertz, Benjamin" userId="7bbcdc09-a17a-459e-9ed5-6cf1c589f103" providerId="ADAL" clId="{F2EAE58B-9B0D-4AE2-98DD-CB59303F810A}" dt="2025-04-08T16:15:09.115" v="327" actId="14100"/>
        <pc:sldMkLst>
          <pc:docMk/>
          <pc:sldMk cId="1616021277" sldId="414"/>
        </pc:sldMkLst>
      </pc:sldChg>
      <pc:sldChg chg="addSp delSp modSp mod">
        <pc:chgData name="Goertz, Benjamin" userId="7bbcdc09-a17a-459e-9ed5-6cf1c589f103" providerId="ADAL" clId="{F2EAE58B-9B0D-4AE2-98DD-CB59303F810A}" dt="2025-04-08T16:37:02.791" v="416" actId="14100"/>
        <pc:sldMkLst>
          <pc:docMk/>
          <pc:sldMk cId="3844587760" sldId="415"/>
        </pc:sldMkLst>
      </pc:sldChg>
      <pc:sldChg chg="modSp mod">
        <pc:chgData name="Goertz, Benjamin" userId="7bbcdc09-a17a-459e-9ed5-6cf1c589f103" providerId="ADAL" clId="{F2EAE58B-9B0D-4AE2-98DD-CB59303F810A}" dt="2025-04-10T14:05:41.942" v="2350" actId="20577"/>
        <pc:sldMkLst>
          <pc:docMk/>
          <pc:sldMk cId="1503184294" sldId="417"/>
        </pc:sldMkLst>
        <pc:spChg chg="mod">
          <ac:chgData name="Goertz, Benjamin" userId="7bbcdc09-a17a-459e-9ed5-6cf1c589f103" providerId="ADAL" clId="{F2EAE58B-9B0D-4AE2-98DD-CB59303F810A}" dt="2025-04-10T12:04:13.922" v="2091" actId="20577"/>
          <ac:spMkLst>
            <pc:docMk/>
            <pc:sldMk cId="1503184294" sldId="417"/>
            <ac:spMk id="2" creationId="{8C74D1F0-3C8F-FA88-F7D6-8548107D14B9}"/>
          </ac:spMkLst>
        </pc:spChg>
      </pc:sldChg>
      <pc:sldChg chg="addSp delSp modSp mod">
        <pc:chgData name="Goertz, Benjamin" userId="7bbcdc09-a17a-459e-9ed5-6cf1c589f103" providerId="ADAL" clId="{F2EAE58B-9B0D-4AE2-98DD-CB59303F810A}" dt="2025-04-08T16:17:15.226" v="351" actId="1036"/>
        <pc:sldMkLst>
          <pc:docMk/>
          <pc:sldMk cId="2674086193" sldId="418"/>
        </pc:sldMkLst>
      </pc:sldChg>
      <pc:sldChg chg="addSp delSp modSp mod">
        <pc:chgData name="Goertz, Benjamin" userId="7bbcdc09-a17a-459e-9ed5-6cf1c589f103" providerId="ADAL" clId="{F2EAE58B-9B0D-4AE2-98DD-CB59303F810A}" dt="2025-04-09T20:22:02.262" v="2080"/>
        <pc:sldMkLst>
          <pc:docMk/>
          <pc:sldMk cId="1951581532" sldId="419"/>
        </pc:sldMkLst>
        <pc:spChg chg="mod">
          <ac:chgData name="Goertz, Benjamin" userId="7bbcdc09-a17a-459e-9ed5-6cf1c589f103" providerId="ADAL" clId="{F2EAE58B-9B0D-4AE2-98DD-CB59303F810A}" dt="2025-04-08T15:33:23.034" v="249" actId="20577"/>
          <ac:spMkLst>
            <pc:docMk/>
            <pc:sldMk cId="1951581532" sldId="419"/>
            <ac:spMk id="3" creationId="{4C786C1D-BD6D-749C-B3ED-B943B65BF5F2}"/>
          </ac:spMkLst>
        </pc:spChg>
      </pc:sldChg>
      <pc:sldChg chg="del">
        <pc:chgData name="Goertz, Benjamin" userId="7bbcdc09-a17a-459e-9ed5-6cf1c589f103" providerId="ADAL" clId="{F2EAE58B-9B0D-4AE2-98DD-CB59303F810A}" dt="2025-04-03T16:20:56.413" v="23" actId="47"/>
        <pc:sldMkLst>
          <pc:docMk/>
          <pc:sldMk cId="3695357645" sldId="420"/>
        </pc:sldMkLst>
      </pc:sldChg>
      <pc:sldChg chg="modSp del mod">
        <pc:chgData name="Goertz, Benjamin" userId="7bbcdc09-a17a-459e-9ed5-6cf1c589f103" providerId="ADAL" clId="{F2EAE58B-9B0D-4AE2-98DD-CB59303F810A}" dt="2025-04-09T19:43:56.968" v="2068" actId="47"/>
        <pc:sldMkLst>
          <pc:docMk/>
          <pc:sldMk cId="3978801337" sldId="422"/>
        </pc:sldMkLst>
      </pc:sldChg>
      <pc:sldChg chg="del">
        <pc:chgData name="Goertz, Benjamin" userId="7bbcdc09-a17a-459e-9ed5-6cf1c589f103" providerId="ADAL" clId="{F2EAE58B-9B0D-4AE2-98DD-CB59303F810A}" dt="2025-04-03T16:21:55.211" v="39" actId="47"/>
        <pc:sldMkLst>
          <pc:docMk/>
          <pc:sldMk cId="1186208203" sldId="423"/>
        </pc:sldMkLst>
      </pc:sldChg>
      <pc:sldChg chg="addSp delSp modSp mod chgLayout">
        <pc:chgData name="Goertz, Benjamin" userId="7bbcdc09-a17a-459e-9ed5-6cf1c589f103" providerId="ADAL" clId="{F2EAE58B-9B0D-4AE2-98DD-CB59303F810A}" dt="2025-04-09T19:27:30.251" v="1894" actId="255"/>
        <pc:sldMkLst>
          <pc:docMk/>
          <pc:sldMk cId="394757324" sldId="424"/>
        </pc:sldMkLst>
        <pc:spChg chg="mod ord">
          <ac:chgData name="Goertz, Benjamin" userId="7bbcdc09-a17a-459e-9ed5-6cf1c589f103" providerId="ADAL" clId="{F2EAE58B-9B0D-4AE2-98DD-CB59303F810A}" dt="2025-04-09T19:15:35.706" v="1658" actId="14100"/>
          <ac:spMkLst>
            <pc:docMk/>
            <pc:sldMk cId="394757324" sldId="424"/>
            <ac:spMk id="2" creationId="{5526B667-5BE8-4D72-9AB9-5EF6A1258447}"/>
          </ac:spMkLst>
        </pc:spChg>
        <pc:spChg chg="add mod ord">
          <ac:chgData name="Goertz, Benjamin" userId="7bbcdc09-a17a-459e-9ed5-6cf1c589f103" providerId="ADAL" clId="{F2EAE58B-9B0D-4AE2-98DD-CB59303F810A}" dt="2025-04-09T19:27:30.251" v="1894" actId="255"/>
          <ac:spMkLst>
            <pc:docMk/>
            <pc:sldMk cId="394757324" sldId="424"/>
            <ac:spMk id="3" creationId="{55BE82BA-FBD6-82CD-870C-2DA0F73BB66F}"/>
          </ac:spMkLst>
        </pc:spChg>
      </pc:sldChg>
      <pc:sldChg chg="modSp add mod">
        <pc:chgData name="Goertz, Benjamin" userId="7bbcdc09-a17a-459e-9ed5-6cf1c589f103" providerId="ADAL" clId="{F2EAE58B-9B0D-4AE2-98DD-CB59303F810A}" dt="2025-04-10T16:35:25.948" v="2479" actId="113"/>
        <pc:sldMkLst>
          <pc:docMk/>
          <pc:sldMk cId="3893679779" sldId="425"/>
        </pc:sldMkLst>
      </pc:sldChg>
      <pc:sldChg chg="addSp delSp modSp add mod">
        <pc:chgData name="Goertz, Benjamin" userId="7bbcdc09-a17a-459e-9ed5-6cf1c589f103" providerId="ADAL" clId="{F2EAE58B-9B0D-4AE2-98DD-CB59303F810A}" dt="2025-04-08T15:42:39.532" v="283" actId="14100"/>
        <pc:sldMkLst>
          <pc:docMk/>
          <pc:sldMk cId="2458097989" sldId="426"/>
        </pc:sldMkLst>
      </pc:sldChg>
      <pc:sldChg chg="modSp add mod">
        <pc:chgData name="Goertz, Benjamin" userId="7bbcdc09-a17a-459e-9ed5-6cf1c589f103" providerId="ADAL" clId="{F2EAE58B-9B0D-4AE2-98DD-CB59303F810A}" dt="2025-04-08T16:01:49.885" v="305" actId="1076"/>
        <pc:sldMkLst>
          <pc:docMk/>
          <pc:sldMk cId="4285287239" sldId="427"/>
        </pc:sldMkLst>
      </pc:sldChg>
      <pc:sldChg chg="addSp delSp modSp add mod">
        <pc:chgData name="Goertz, Benjamin" userId="7bbcdc09-a17a-459e-9ed5-6cf1c589f103" providerId="ADAL" clId="{F2EAE58B-9B0D-4AE2-98DD-CB59303F810A}" dt="2025-04-08T16:18:13.124" v="354" actId="14100"/>
        <pc:sldMkLst>
          <pc:docMk/>
          <pc:sldMk cId="4005886413" sldId="428"/>
        </pc:sldMkLst>
      </pc:sldChg>
      <pc:sldChg chg="addSp delSp modSp add mod">
        <pc:chgData name="Goertz, Benjamin" userId="7bbcdc09-a17a-459e-9ed5-6cf1c589f103" providerId="ADAL" clId="{F2EAE58B-9B0D-4AE2-98DD-CB59303F810A}" dt="2025-04-08T16:19:34.793" v="359" actId="14100"/>
        <pc:sldMkLst>
          <pc:docMk/>
          <pc:sldMk cId="2333943453" sldId="429"/>
        </pc:sldMkLst>
      </pc:sldChg>
      <pc:sldChg chg="addSp delSp modSp add mod">
        <pc:chgData name="Goertz, Benjamin" userId="7bbcdc09-a17a-459e-9ed5-6cf1c589f103" providerId="ADAL" clId="{F2EAE58B-9B0D-4AE2-98DD-CB59303F810A}" dt="2025-04-08T16:20:45.819" v="364" actId="14100"/>
        <pc:sldMkLst>
          <pc:docMk/>
          <pc:sldMk cId="3546916174" sldId="430"/>
        </pc:sldMkLst>
      </pc:sldChg>
      <pc:sldChg chg="addSp delSp modSp add del mod">
        <pc:chgData name="Goertz, Benjamin" userId="7bbcdc09-a17a-459e-9ed5-6cf1c589f103" providerId="ADAL" clId="{F2EAE58B-9B0D-4AE2-98DD-CB59303F810A}" dt="2025-04-08T16:27:42.397" v="380" actId="14100"/>
        <pc:sldMkLst>
          <pc:docMk/>
          <pc:sldMk cId="1119320351" sldId="431"/>
        </pc:sldMkLst>
      </pc:sldChg>
      <pc:sldChg chg="addSp delSp modSp add del mod ord">
        <pc:chgData name="Goertz, Benjamin" userId="7bbcdc09-a17a-459e-9ed5-6cf1c589f103" providerId="ADAL" clId="{F2EAE58B-9B0D-4AE2-98DD-CB59303F810A}" dt="2025-04-08T16:27:08.722" v="377"/>
        <pc:sldMkLst>
          <pc:docMk/>
          <pc:sldMk cId="1303442318" sldId="432"/>
        </pc:sldMkLst>
      </pc:sldChg>
      <pc:sldChg chg="modSp add mod ord">
        <pc:chgData name="Goertz, Benjamin" userId="7bbcdc09-a17a-459e-9ed5-6cf1c589f103" providerId="ADAL" clId="{F2EAE58B-9B0D-4AE2-98DD-CB59303F810A}" dt="2025-04-08T16:41:28.569" v="454"/>
        <pc:sldMkLst>
          <pc:docMk/>
          <pc:sldMk cId="3781640535" sldId="433"/>
        </pc:sldMkLst>
      </pc:sldChg>
      <pc:sldChg chg="addSp delSp modSp add mod">
        <pc:chgData name="Goertz, Benjamin" userId="7bbcdc09-a17a-459e-9ed5-6cf1c589f103" providerId="ADAL" clId="{F2EAE58B-9B0D-4AE2-98DD-CB59303F810A}" dt="2025-04-08T16:45:47.655" v="470" actId="1076"/>
        <pc:sldMkLst>
          <pc:docMk/>
          <pc:sldMk cId="2510951506" sldId="434"/>
        </pc:sldMkLst>
      </pc:sldChg>
      <pc:sldChg chg="addSp delSp modSp add mod">
        <pc:chgData name="Goertz, Benjamin" userId="7bbcdc09-a17a-459e-9ed5-6cf1c589f103" providerId="ADAL" clId="{F2EAE58B-9B0D-4AE2-98DD-CB59303F810A}" dt="2025-04-08T16:46:36.736" v="474" actId="1076"/>
        <pc:sldMkLst>
          <pc:docMk/>
          <pc:sldMk cId="1680964770" sldId="435"/>
        </pc:sldMkLst>
      </pc:sldChg>
      <pc:sldChg chg="addSp delSp modSp add mod">
        <pc:chgData name="Goertz, Benjamin" userId="7bbcdc09-a17a-459e-9ed5-6cf1c589f103" providerId="ADAL" clId="{F2EAE58B-9B0D-4AE2-98DD-CB59303F810A}" dt="2025-04-09T20:21:06.673" v="2079" actId="1076"/>
        <pc:sldMkLst>
          <pc:docMk/>
          <pc:sldMk cId="2066815088" sldId="436"/>
        </pc:sldMkLst>
        <pc:spChg chg="mod">
          <ac:chgData name="Goertz, Benjamin" userId="7bbcdc09-a17a-459e-9ed5-6cf1c589f103" providerId="ADAL" clId="{F2EAE58B-9B0D-4AE2-98DD-CB59303F810A}" dt="2025-04-08T19:19:00.177" v="518" actId="20577"/>
          <ac:spMkLst>
            <pc:docMk/>
            <pc:sldMk cId="2066815088" sldId="436"/>
            <ac:spMk id="2" creationId="{02D73ED5-0A65-C22C-9AAA-A6BCA498A762}"/>
          </ac:spMkLst>
        </pc:spChg>
        <pc:spChg chg="mod">
          <ac:chgData name="Goertz, Benjamin" userId="7bbcdc09-a17a-459e-9ed5-6cf1c589f103" providerId="ADAL" clId="{F2EAE58B-9B0D-4AE2-98DD-CB59303F810A}" dt="2025-04-09T20:21:01.758" v="2076" actId="20577"/>
          <ac:spMkLst>
            <pc:docMk/>
            <pc:sldMk cId="2066815088" sldId="436"/>
            <ac:spMk id="3" creationId="{9D7BE6E0-B2C5-1414-F385-611BE1AA43DD}"/>
          </ac:spMkLst>
        </pc:spChg>
      </pc:sldChg>
      <pc:sldChg chg="delSp modSp add mod">
        <pc:chgData name="Goertz, Benjamin" userId="7bbcdc09-a17a-459e-9ed5-6cf1c589f103" providerId="ADAL" clId="{F2EAE58B-9B0D-4AE2-98DD-CB59303F810A}" dt="2025-04-08T21:42:33.582" v="863" actId="20577"/>
        <pc:sldMkLst>
          <pc:docMk/>
          <pc:sldMk cId="1758231670" sldId="437"/>
        </pc:sldMkLst>
      </pc:sldChg>
      <pc:sldChg chg="addSp delSp modSp add mod">
        <pc:chgData name="Goertz, Benjamin" userId="7bbcdc09-a17a-459e-9ed5-6cf1c589f103" providerId="ADAL" clId="{F2EAE58B-9B0D-4AE2-98DD-CB59303F810A}" dt="2025-04-09T16:39:07.845" v="1576" actId="478"/>
        <pc:sldMkLst>
          <pc:docMk/>
          <pc:sldMk cId="2765762745" sldId="438"/>
        </pc:sldMkLst>
      </pc:sldChg>
      <pc:sldChg chg="addSp delSp modSp add mod modAnim">
        <pc:chgData name="Goertz, Benjamin" userId="7bbcdc09-a17a-459e-9ed5-6cf1c589f103" providerId="ADAL" clId="{F2EAE58B-9B0D-4AE2-98DD-CB59303F810A}" dt="2025-04-09T17:03:44.534" v="1633" actId="1076"/>
        <pc:sldMkLst>
          <pc:docMk/>
          <pc:sldMk cId="2730178056" sldId="439"/>
        </pc:sldMkLst>
      </pc:sldChg>
      <pc:sldChg chg="modSp add mod">
        <pc:chgData name="Goertz, Benjamin" userId="7bbcdc09-a17a-459e-9ed5-6cf1c589f103" providerId="ADAL" clId="{F2EAE58B-9B0D-4AE2-98DD-CB59303F810A}" dt="2025-04-09T19:35:53.159" v="2067"/>
        <pc:sldMkLst>
          <pc:docMk/>
          <pc:sldMk cId="4162728540" sldId="440"/>
        </pc:sldMkLst>
      </pc:sldChg>
      <pc:sldChg chg="addSp delSp modSp add mod">
        <pc:chgData name="Goertz, Benjamin" userId="7bbcdc09-a17a-459e-9ed5-6cf1c589f103" providerId="ADAL" clId="{F2EAE58B-9B0D-4AE2-98DD-CB59303F810A}" dt="2025-04-10T14:05:28.067" v="2341" actId="20577"/>
        <pc:sldMkLst>
          <pc:docMk/>
          <pc:sldMk cId="3808792113" sldId="441"/>
        </pc:sldMkLst>
      </pc:sldChg>
    </pc:docChg>
  </pc:docChgLst>
  <pc:docChgLst>
    <pc:chgData name="Goertz, Benjamin" userId="S::bgoertz@fmi.com::7bbcdc09-a17a-459e-9ed5-6cf1c589f103" providerId="AD" clId="Web-{34EB1838-7E26-2A63-A3A2-3124880DB88D}"/>
    <pc:docChg chg="addSld delSld">
      <pc:chgData name="Goertz, Benjamin" userId="S::bgoertz@fmi.com::7bbcdc09-a17a-459e-9ed5-6cf1c589f103" providerId="AD" clId="Web-{34EB1838-7E26-2A63-A3A2-3124880DB88D}" dt="2025-05-19T20:00:05.949" v="3"/>
      <pc:docMkLst>
        <pc:docMk/>
      </pc:docMkLst>
      <pc:sldChg chg="del">
        <pc:chgData name="Goertz, Benjamin" userId="S::bgoertz@fmi.com::7bbcdc09-a17a-459e-9ed5-6cf1c589f103" providerId="AD" clId="Web-{34EB1838-7E26-2A63-A3A2-3124880DB88D}" dt="2025-05-19T20:00:04.652" v="2"/>
        <pc:sldMkLst>
          <pc:docMk/>
          <pc:sldMk cId="2099519321" sldId="442"/>
        </pc:sldMkLst>
      </pc:sldChg>
      <pc:sldChg chg="del">
        <pc:chgData name="Goertz, Benjamin" userId="S::bgoertz@fmi.com::7bbcdc09-a17a-459e-9ed5-6cf1c589f103" providerId="AD" clId="Web-{34EB1838-7E26-2A63-A3A2-3124880DB88D}" dt="2025-05-19T20:00:05.949" v="3"/>
        <pc:sldMkLst>
          <pc:docMk/>
          <pc:sldMk cId="329520796" sldId="444"/>
        </pc:sldMkLst>
      </pc:sldChg>
      <pc:sldChg chg="add">
        <pc:chgData name="Goertz, Benjamin" userId="S::bgoertz@fmi.com::7bbcdc09-a17a-459e-9ed5-6cf1c589f103" providerId="AD" clId="Web-{34EB1838-7E26-2A63-A3A2-3124880DB88D}" dt="2025-05-19T19:59:59.043" v="0"/>
        <pc:sldMkLst>
          <pc:docMk/>
          <pc:sldMk cId="4240038532" sldId="446"/>
        </pc:sldMkLst>
      </pc:sldChg>
      <pc:sldChg chg="add">
        <pc:chgData name="Goertz, Benjamin" userId="S::bgoertz@fmi.com::7bbcdc09-a17a-459e-9ed5-6cf1c589f103" providerId="AD" clId="Web-{34EB1838-7E26-2A63-A3A2-3124880DB88D}" dt="2025-05-19T19:59:59.074" v="1"/>
        <pc:sldMkLst>
          <pc:docMk/>
          <pc:sldMk cId="2085625284" sldId="447"/>
        </pc:sldMkLst>
      </pc:sldChg>
    </pc:docChg>
  </pc:docChgLst>
  <pc:docChgLst>
    <pc:chgData name="Hickman, Ron" userId="a745d65d-793c-41dd-a12c-725cb989ea82" providerId="ADAL" clId="{57509DB4-56C4-435D-AB6D-031A1D4D144E}"/>
    <pc:docChg chg="modSld">
      <pc:chgData name="Hickman, Ron" userId="a745d65d-793c-41dd-a12c-725cb989ea82" providerId="ADAL" clId="{57509DB4-56C4-435D-AB6D-031A1D4D144E}" dt="2025-04-09T21:27:44.478" v="0" actId="1076"/>
      <pc:docMkLst>
        <pc:docMk/>
      </pc:docMkLst>
      <pc:sldChg chg="modSp mod">
        <pc:chgData name="Hickman, Ron" userId="a745d65d-793c-41dd-a12c-725cb989ea82" providerId="ADAL" clId="{57509DB4-56C4-435D-AB6D-031A1D4D144E}" dt="2025-04-09T21:27:44.478" v="0" actId="1076"/>
        <pc:sldMkLst>
          <pc:docMk/>
          <pc:sldMk cId="2730178056" sldId="439"/>
        </pc:sldMkLst>
      </pc:sldChg>
    </pc:docChg>
  </pc:docChgLst>
  <pc:docChgLst>
    <pc:chgData name="Goertz, Benjamin" userId="7bbcdc09-a17a-459e-9ed5-6cf1c589f103" providerId="ADAL" clId="{BBA05E9E-2D08-40CB-93E8-F21758CC8115}"/>
    <pc:docChg chg="undo redo custSel addSld delSld modSld">
      <pc:chgData name="Goertz, Benjamin" userId="7bbcdc09-a17a-459e-9ed5-6cf1c589f103" providerId="ADAL" clId="{BBA05E9E-2D08-40CB-93E8-F21758CC8115}" dt="2025-05-21T19:41:28.568" v="1969" actId="255"/>
      <pc:docMkLst>
        <pc:docMk/>
      </pc:docMkLst>
      <pc:sldChg chg="modSp mod">
        <pc:chgData name="Goertz, Benjamin" userId="7bbcdc09-a17a-459e-9ed5-6cf1c589f103" providerId="ADAL" clId="{BBA05E9E-2D08-40CB-93E8-F21758CC8115}" dt="2025-05-09T12:38:45.771" v="187" actId="20577"/>
        <pc:sldMkLst>
          <pc:docMk/>
          <pc:sldMk cId="2617501420" sldId="285"/>
        </pc:sldMkLst>
        <pc:spChg chg="mod">
          <ac:chgData name="Goertz, Benjamin" userId="7bbcdc09-a17a-459e-9ed5-6cf1c589f103" providerId="ADAL" clId="{BBA05E9E-2D08-40CB-93E8-F21758CC8115}" dt="2025-05-09T12:38:38.394" v="181" actId="20577"/>
          <ac:spMkLst>
            <pc:docMk/>
            <pc:sldMk cId="2617501420" sldId="285"/>
            <ac:spMk id="2" creationId="{30F62D0F-4856-B62B-7439-10D0D1F4AF38}"/>
          </ac:spMkLst>
        </pc:spChg>
        <pc:spChg chg="mod">
          <ac:chgData name="Goertz, Benjamin" userId="7bbcdc09-a17a-459e-9ed5-6cf1c589f103" providerId="ADAL" clId="{BBA05E9E-2D08-40CB-93E8-F21758CC8115}" dt="2025-05-09T12:38:45.771" v="187" actId="20577"/>
          <ac:spMkLst>
            <pc:docMk/>
            <pc:sldMk cId="2617501420" sldId="285"/>
            <ac:spMk id="3" creationId="{7F8EF732-D959-ECB3-00B1-C75B74F6A1F7}"/>
          </ac:spMkLst>
        </pc:spChg>
      </pc:sldChg>
      <pc:sldChg chg="del">
        <pc:chgData name="Goertz, Benjamin" userId="7bbcdc09-a17a-459e-9ed5-6cf1c589f103" providerId="ADAL" clId="{BBA05E9E-2D08-40CB-93E8-F21758CC8115}" dt="2025-05-09T12:23:46.855" v="29" actId="47"/>
        <pc:sldMkLst>
          <pc:docMk/>
          <pc:sldMk cId="3010647946" sldId="379"/>
        </pc:sldMkLst>
      </pc:sldChg>
      <pc:sldChg chg="addSp delSp modSp mod">
        <pc:chgData name="Goertz, Benjamin" userId="7bbcdc09-a17a-459e-9ed5-6cf1c589f103" providerId="ADAL" clId="{BBA05E9E-2D08-40CB-93E8-F21758CC8115}" dt="2025-05-19T20:05:51.843" v="285" actId="14100"/>
        <pc:sldMkLst>
          <pc:docMk/>
          <pc:sldMk cId="2925639666" sldId="380"/>
        </pc:sldMkLst>
        <pc:picChg chg="add mod ord">
          <ac:chgData name="Goertz, Benjamin" userId="7bbcdc09-a17a-459e-9ed5-6cf1c589f103" providerId="ADAL" clId="{BBA05E9E-2D08-40CB-93E8-F21758CC8115}" dt="2025-05-19T20:05:51.843" v="285" actId="14100"/>
          <ac:picMkLst>
            <pc:docMk/>
            <pc:sldMk cId="2925639666" sldId="380"/>
            <ac:picMk id="5" creationId="{79CE91CF-12A6-8C6E-E6B8-DF2DA209D58D}"/>
          </ac:picMkLst>
        </pc:picChg>
      </pc:sldChg>
      <pc:sldChg chg="addSp delSp modSp del mod">
        <pc:chgData name="Goertz, Benjamin" userId="7bbcdc09-a17a-459e-9ed5-6cf1c589f103" providerId="ADAL" clId="{BBA05E9E-2D08-40CB-93E8-F21758CC8115}" dt="2025-05-19T20:17:19.456" v="681" actId="47"/>
        <pc:sldMkLst>
          <pc:docMk/>
          <pc:sldMk cId="964538404" sldId="382"/>
        </pc:sldMkLst>
      </pc:sldChg>
      <pc:sldChg chg="addSp delSp modSp mod">
        <pc:chgData name="Goertz, Benjamin" userId="7bbcdc09-a17a-459e-9ed5-6cf1c589f103" providerId="ADAL" clId="{BBA05E9E-2D08-40CB-93E8-F21758CC8115}" dt="2025-05-19T20:19:50.019" v="715" actId="1076"/>
        <pc:sldMkLst>
          <pc:docMk/>
          <pc:sldMk cId="4080278820" sldId="383"/>
        </pc:sldMkLst>
        <pc:spChg chg="add mod">
          <ac:chgData name="Goertz, Benjamin" userId="7bbcdc09-a17a-459e-9ed5-6cf1c589f103" providerId="ADAL" clId="{BBA05E9E-2D08-40CB-93E8-F21758CC8115}" dt="2025-05-09T12:24:15.439" v="43" actId="478"/>
          <ac:spMkLst>
            <pc:docMk/>
            <pc:sldMk cId="4080278820" sldId="383"/>
            <ac:spMk id="4" creationId="{A3F2A1DE-A2B2-8CAE-22BF-B3FA12AB9F8F}"/>
          </ac:spMkLst>
        </pc:spChg>
        <pc:picChg chg="add mod">
          <ac:chgData name="Goertz, Benjamin" userId="7bbcdc09-a17a-459e-9ed5-6cf1c589f103" providerId="ADAL" clId="{BBA05E9E-2D08-40CB-93E8-F21758CC8115}" dt="2025-05-19T20:19:50.019" v="715" actId="1076"/>
          <ac:picMkLst>
            <pc:docMk/>
            <pc:sldMk cId="4080278820" sldId="383"/>
            <ac:picMk id="5" creationId="{C38F00CD-8F76-9496-85C1-18215FE022C0}"/>
          </ac:picMkLst>
        </pc:picChg>
      </pc:sldChg>
      <pc:sldChg chg="modSp mod">
        <pc:chgData name="Goertz, Benjamin" userId="7bbcdc09-a17a-459e-9ed5-6cf1c589f103" providerId="ADAL" clId="{BBA05E9E-2D08-40CB-93E8-F21758CC8115}" dt="2025-05-19T20:57:48.835" v="1556" actId="20577"/>
        <pc:sldMkLst>
          <pc:docMk/>
          <pc:sldMk cId="355468932" sldId="389"/>
        </pc:sldMkLst>
        <pc:spChg chg="mod">
          <ac:chgData name="Goertz, Benjamin" userId="7bbcdc09-a17a-459e-9ed5-6cf1c589f103" providerId="ADAL" clId="{BBA05E9E-2D08-40CB-93E8-F21758CC8115}" dt="2025-05-19T20:57:48.835" v="1556" actId="20577"/>
          <ac:spMkLst>
            <pc:docMk/>
            <pc:sldMk cId="355468932" sldId="389"/>
            <ac:spMk id="2" creationId="{3C2356A1-11D8-103E-69B5-EEB735A8DE52}"/>
          </ac:spMkLst>
        </pc:spChg>
      </pc:sldChg>
      <pc:sldChg chg="modSp del mod">
        <pc:chgData name="Goertz, Benjamin" userId="7bbcdc09-a17a-459e-9ed5-6cf1c589f103" providerId="ADAL" clId="{BBA05E9E-2D08-40CB-93E8-F21758CC8115}" dt="2025-05-19T20:20:28.657" v="721" actId="47"/>
        <pc:sldMkLst>
          <pc:docMk/>
          <pc:sldMk cId="3638532360" sldId="394"/>
        </pc:sldMkLst>
      </pc:sldChg>
      <pc:sldChg chg="modSp mod">
        <pc:chgData name="Goertz, Benjamin" userId="7bbcdc09-a17a-459e-9ed5-6cf1c589f103" providerId="ADAL" clId="{BBA05E9E-2D08-40CB-93E8-F21758CC8115}" dt="2025-05-09T12:33:23.033" v="116"/>
        <pc:sldMkLst>
          <pc:docMk/>
          <pc:sldMk cId="79483094" sldId="410"/>
        </pc:sldMkLst>
        <pc:spChg chg="mod">
          <ac:chgData name="Goertz, Benjamin" userId="7bbcdc09-a17a-459e-9ed5-6cf1c589f103" providerId="ADAL" clId="{BBA05E9E-2D08-40CB-93E8-F21758CC8115}" dt="2025-05-09T12:33:23.033" v="116"/>
          <ac:spMkLst>
            <pc:docMk/>
            <pc:sldMk cId="79483094" sldId="410"/>
            <ac:spMk id="8" creationId="{D80018B4-8BFB-30DB-1CA4-6165FA21D0A8}"/>
          </ac:spMkLst>
        </pc:spChg>
      </pc:sldChg>
      <pc:sldChg chg="addSp delSp modSp mod">
        <pc:chgData name="Goertz, Benjamin" userId="7bbcdc09-a17a-459e-9ed5-6cf1c589f103" providerId="ADAL" clId="{BBA05E9E-2D08-40CB-93E8-F21758CC8115}" dt="2025-05-19T20:04:40.560" v="281" actId="1036"/>
        <pc:sldMkLst>
          <pc:docMk/>
          <pc:sldMk cId="73004473" sldId="411"/>
        </pc:sldMkLst>
        <pc:spChg chg="mod">
          <ac:chgData name="Goertz, Benjamin" userId="7bbcdc09-a17a-459e-9ed5-6cf1c589f103" providerId="ADAL" clId="{BBA05E9E-2D08-40CB-93E8-F21758CC8115}" dt="2025-05-19T20:04:27.245" v="252" actId="20577"/>
          <ac:spMkLst>
            <pc:docMk/>
            <pc:sldMk cId="73004473" sldId="411"/>
            <ac:spMk id="2" creationId="{B7CF4A9A-8C9D-A4A3-8360-51091B681069}"/>
          </ac:spMkLst>
        </pc:spChg>
        <pc:spChg chg="add mod">
          <ac:chgData name="Goertz, Benjamin" userId="7bbcdc09-a17a-459e-9ed5-6cf1c589f103" providerId="ADAL" clId="{BBA05E9E-2D08-40CB-93E8-F21758CC8115}" dt="2025-05-19T20:03:51.413" v="221" actId="478"/>
          <ac:spMkLst>
            <pc:docMk/>
            <pc:sldMk cId="73004473" sldId="411"/>
            <ac:spMk id="9" creationId="{575EABB4-D9FB-987D-96C4-E6439F99BDAA}"/>
          </ac:spMkLst>
        </pc:spChg>
        <pc:picChg chg="add mod">
          <ac:chgData name="Goertz, Benjamin" userId="7bbcdc09-a17a-459e-9ed5-6cf1c589f103" providerId="ADAL" clId="{BBA05E9E-2D08-40CB-93E8-F21758CC8115}" dt="2025-05-19T20:04:40.560" v="281" actId="1036"/>
          <ac:picMkLst>
            <pc:docMk/>
            <pc:sldMk cId="73004473" sldId="411"/>
            <ac:picMk id="11" creationId="{FC9FB030-8A62-92B4-DF8D-B1BD90CCFD07}"/>
          </ac:picMkLst>
        </pc:picChg>
      </pc:sldChg>
      <pc:sldChg chg="addSp delSp modSp mod">
        <pc:chgData name="Goertz, Benjamin" userId="7bbcdc09-a17a-459e-9ed5-6cf1c589f103" providerId="ADAL" clId="{BBA05E9E-2D08-40CB-93E8-F21758CC8115}" dt="2025-05-19T20:10:33.920" v="453" actId="1038"/>
        <pc:sldMkLst>
          <pc:docMk/>
          <pc:sldMk cId="423919767" sldId="412"/>
        </pc:sldMkLst>
        <pc:spChg chg="mod">
          <ac:chgData name="Goertz, Benjamin" userId="7bbcdc09-a17a-459e-9ed5-6cf1c589f103" providerId="ADAL" clId="{BBA05E9E-2D08-40CB-93E8-F21758CC8115}" dt="2025-05-19T20:09:43.699" v="437" actId="20577"/>
          <ac:spMkLst>
            <pc:docMk/>
            <pc:sldMk cId="423919767" sldId="412"/>
            <ac:spMk id="2" creationId="{19B19876-F2A6-AE9F-65E6-59B02FE37C2C}"/>
          </ac:spMkLst>
        </pc:spChg>
        <pc:spChg chg="add mod">
          <ac:chgData name="Goertz, Benjamin" userId="7bbcdc09-a17a-459e-9ed5-6cf1c589f103" providerId="ADAL" clId="{BBA05E9E-2D08-40CB-93E8-F21758CC8115}" dt="2025-05-09T12:23:12.147" v="0" actId="478"/>
          <ac:spMkLst>
            <pc:docMk/>
            <pc:sldMk cId="423919767" sldId="412"/>
            <ac:spMk id="4" creationId="{E4ADD61D-C9A7-E613-99C3-9EBCEC36C011}"/>
          </ac:spMkLst>
        </pc:spChg>
        <pc:picChg chg="add mod">
          <ac:chgData name="Goertz, Benjamin" userId="7bbcdc09-a17a-459e-9ed5-6cf1c589f103" providerId="ADAL" clId="{BBA05E9E-2D08-40CB-93E8-F21758CC8115}" dt="2025-05-19T20:10:33.920" v="453" actId="1038"/>
          <ac:picMkLst>
            <pc:docMk/>
            <pc:sldMk cId="423919767" sldId="412"/>
            <ac:picMk id="5" creationId="{3ACFB3DF-93B7-E623-1818-50FB8F794380}"/>
          </ac:picMkLst>
        </pc:picChg>
      </pc:sldChg>
      <pc:sldChg chg="del">
        <pc:chgData name="Goertz, Benjamin" userId="7bbcdc09-a17a-459e-9ed5-6cf1c589f103" providerId="ADAL" clId="{BBA05E9E-2D08-40CB-93E8-F21758CC8115}" dt="2025-05-09T12:23:51.259" v="31" actId="47"/>
        <pc:sldMkLst>
          <pc:docMk/>
          <pc:sldMk cId="1616021277" sldId="414"/>
        </pc:sldMkLst>
      </pc:sldChg>
      <pc:sldChg chg="addSp delSp modSp mod">
        <pc:chgData name="Goertz, Benjamin" userId="7bbcdc09-a17a-459e-9ed5-6cf1c589f103" providerId="ADAL" clId="{BBA05E9E-2D08-40CB-93E8-F21758CC8115}" dt="2025-05-19T20:17:35.144" v="709" actId="20577"/>
        <pc:sldMkLst>
          <pc:docMk/>
          <pc:sldMk cId="3844587760" sldId="415"/>
        </pc:sldMkLst>
        <pc:spChg chg="mod">
          <ac:chgData name="Goertz, Benjamin" userId="7bbcdc09-a17a-459e-9ed5-6cf1c589f103" providerId="ADAL" clId="{BBA05E9E-2D08-40CB-93E8-F21758CC8115}" dt="2025-05-19T20:17:35.144" v="709" actId="20577"/>
          <ac:spMkLst>
            <pc:docMk/>
            <pc:sldMk cId="3844587760" sldId="415"/>
            <ac:spMk id="2" creationId="{B18A5A79-15D7-1DE5-C100-AEE06897FD2A}"/>
          </ac:spMkLst>
        </pc:spChg>
        <pc:spChg chg="add mod">
          <ac:chgData name="Goertz, Benjamin" userId="7bbcdc09-a17a-459e-9ed5-6cf1c589f103" providerId="ADAL" clId="{BBA05E9E-2D08-40CB-93E8-F21758CC8115}" dt="2025-05-09T12:24:00.335" v="38" actId="478"/>
          <ac:spMkLst>
            <pc:docMk/>
            <pc:sldMk cId="3844587760" sldId="415"/>
            <ac:spMk id="4" creationId="{E4B24291-E400-9FAC-22E3-A77870CBA439}"/>
          </ac:spMkLst>
        </pc:spChg>
        <pc:picChg chg="add mod modCrop">
          <ac:chgData name="Goertz, Benjamin" userId="7bbcdc09-a17a-459e-9ed5-6cf1c589f103" providerId="ADAL" clId="{BBA05E9E-2D08-40CB-93E8-F21758CC8115}" dt="2025-05-19T20:08:26.123" v="410" actId="1076"/>
          <ac:picMkLst>
            <pc:docMk/>
            <pc:sldMk cId="3844587760" sldId="415"/>
            <ac:picMk id="5" creationId="{22A38445-1C30-2B71-9395-14FA59330E46}"/>
          </ac:picMkLst>
        </pc:picChg>
      </pc:sldChg>
      <pc:sldChg chg="addSp delSp modSp mod chgLayout">
        <pc:chgData name="Goertz, Benjamin" userId="7bbcdc09-a17a-459e-9ed5-6cf1c589f103" providerId="ADAL" clId="{BBA05E9E-2D08-40CB-93E8-F21758CC8115}" dt="2025-05-21T19:41:28.568" v="1969" actId="255"/>
        <pc:sldMkLst>
          <pc:docMk/>
          <pc:sldMk cId="1503184294" sldId="417"/>
        </pc:sldMkLst>
        <pc:spChg chg="mod ord">
          <ac:chgData name="Goertz, Benjamin" userId="7bbcdc09-a17a-459e-9ed5-6cf1c589f103" providerId="ADAL" clId="{BBA05E9E-2D08-40CB-93E8-F21758CC8115}" dt="2025-05-09T12:38:31.399" v="173" actId="700"/>
          <ac:spMkLst>
            <pc:docMk/>
            <pc:sldMk cId="1503184294" sldId="417"/>
            <ac:spMk id="2" creationId="{8C74D1F0-3C8F-FA88-F7D6-8548107D14B9}"/>
          </ac:spMkLst>
        </pc:spChg>
        <pc:spChg chg="add mod ord">
          <ac:chgData name="Goertz, Benjamin" userId="7bbcdc09-a17a-459e-9ed5-6cf1c589f103" providerId="ADAL" clId="{BBA05E9E-2D08-40CB-93E8-F21758CC8115}" dt="2025-05-21T19:41:28.568" v="1969" actId="255"/>
          <ac:spMkLst>
            <pc:docMk/>
            <pc:sldMk cId="1503184294" sldId="417"/>
            <ac:spMk id="4" creationId="{C96B4EA1-4A4E-017A-FBD0-F28F34625AC7}"/>
          </ac:spMkLst>
        </pc:spChg>
      </pc:sldChg>
      <pc:sldChg chg="del">
        <pc:chgData name="Goertz, Benjamin" userId="7bbcdc09-a17a-459e-9ed5-6cf1c589f103" providerId="ADAL" clId="{BBA05E9E-2D08-40CB-93E8-F21758CC8115}" dt="2025-05-09T12:23:56.010" v="35" actId="47"/>
        <pc:sldMkLst>
          <pc:docMk/>
          <pc:sldMk cId="2674086193" sldId="418"/>
        </pc:sldMkLst>
      </pc:sldChg>
      <pc:sldChg chg="addSp delSp modSp mod">
        <pc:chgData name="Goertz, Benjamin" userId="7bbcdc09-a17a-459e-9ed5-6cf1c589f103" providerId="ADAL" clId="{BBA05E9E-2D08-40CB-93E8-F21758CC8115}" dt="2025-05-19T20:55:14.932" v="1552" actId="20577"/>
        <pc:sldMkLst>
          <pc:docMk/>
          <pc:sldMk cId="1951581532" sldId="419"/>
        </pc:sldMkLst>
        <pc:spChg chg="mod">
          <ac:chgData name="Goertz, Benjamin" userId="7bbcdc09-a17a-459e-9ed5-6cf1c589f103" providerId="ADAL" clId="{BBA05E9E-2D08-40CB-93E8-F21758CC8115}" dt="2025-05-19T20:55:14.932" v="1552" actId="20577"/>
          <ac:spMkLst>
            <pc:docMk/>
            <pc:sldMk cId="1951581532" sldId="419"/>
            <ac:spMk id="3" creationId="{4C786C1D-BD6D-749C-B3ED-B943B65BF5F2}"/>
          </ac:spMkLst>
        </pc:spChg>
        <pc:graphicFrameChg chg="add mod">
          <ac:chgData name="Goertz, Benjamin" userId="7bbcdc09-a17a-459e-9ed5-6cf1c589f103" providerId="ADAL" clId="{BBA05E9E-2D08-40CB-93E8-F21758CC8115}" dt="2025-05-19T20:39:42.426" v="1338" actId="14100"/>
          <ac:graphicFrameMkLst>
            <pc:docMk/>
            <pc:sldMk cId="1951581532" sldId="419"/>
            <ac:graphicFrameMk id="5" creationId="{E22EF699-FA66-E9D2-7EDB-07CE3706B415}"/>
          </ac:graphicFrameMkLst>
        </pc:graphicFrameChg>
      </pc:sldChg>
      <pc:sldChg chg="addSp delSp modSp mod">
        <pc:chgData name="Goertz, Benjamin" userId="7bbcdc09-a17a-459e-9ed5-6cf1c589f103" providerId="ADAL" clId="{BBA05E9E-2D08-40CB-93E8-F21758CC8115}" dt="2025-05-19T20:17:01.691" v="680" actId="115"/>
        <pc:sldMkLst>
          <pc:docMk/>
          <pc:sldMk cId="394757324" sldId="424"/>
        </pc:sldMkLst>
        <pc:spChg chg="mod">
          <ac:chgData name="Goertz, Benjamin" userId="7bbcdc09-a17a-459e-9ed5-6cf1c589f103" providerId="ADAL" clId="{BBA05E9E-2D08-40CB-93E8-F21758CC8115}" dt="2025-05-19T20:14:04.987" v="534" actId="20577"/>
          <ac:spMkLst>
            <pc:docMk/>
            <pc:sldMk cId="394757324" sldId="424"/>
            <ac:spMk id="2" creationId="{5526B667-5BE8-4D72-9AB9-5EF6A1258447}"/>
          </ac:spMkLst>
        </pc:spChg>
        <pc:spChg chg="mod">
          <ac:chgData name="Goertz, Benjamin" userId="7bbcdc09-a17a-459e-9ed5-6cf1c589f103" providerId="ADAL" clId="{BBA05E9E-2D08-40CB-93E8-F21758CC8115}" dt="2025-05-19T20:17:01.691" v="680" actId="115"/>
          <ac:spMkLst>
            <pc:docMk/>
            <pc:sldMk cId="394757324" sldId="424"/>
            <ac:spMk id="3" creationId="{55BE82BA-FBD6-82CD-870C-2DA0F73BB66F}"/>
          </ac:spMkLst>
        </pc:spChg>
        <pc:picChg chg="add mod modCrop">
          <ac:chgData name="Goertz, Benjamin" userId="7bbcdc09-a17a-459e-9ed5-6cf1c589f103" providerId="ADAL" clId="{BBA05E9E-2D08-40CB-93E8-F21758CC8115}" dt="2025-05-19T20:15:45.592" v="578" actId="1035"/>
          <ac:picMkLst>
            <pc:docMk/>
            <pc:sldMk cId="394757324" sldId="424"/>
            <ac:picMk id="7" creationId="{7F302AF1-A037-A38F-A868-AD4D1FAEA931}"/>
          </ac:picMkLst>
        </pc:picChg>
        <pc:picChg chg="add mod modCrop">
          <ac:chgData name="Goertz, Benjamin" userId="7bbcdc09-a17a-459e-9ed5-6cf1c589f103" providerId="ADAL" clId="{BBA05E9E-2D08-40CB-93E8-F21758CC8115}" dt="2025-05-19T20:15:41.835" v="560" actId="1076"/>
          <ac:picMkLst>
            <pc:docMk/>
            <pc:sldMk cId="394757324" sldId="424"/>
            <ac:picMk id="9" creationId="{260FE9AF-CC7C-C0F9-417C-EDED66391EAB}"/>
          </ac:picMkLst>
        </pc:picChg>
        <pc:picChg chg="add mod modCrop">
          <ac:chgData name="Goertz, Benjamin" userId="7bbcdc09-a17a-459e-9ed5-6cf1c589f103" providerId="ADAL" clId="{BBA05E9E-2D08-40CB-93E8-F21758CC8115}" dt="2025-05-19T20:16:58.059" v="678" actId="1076"/>
          <ac:picMkLst>
            <pc:docMk/>
            <pc:sldMk cId="394757324" sldId="424"/>
            <ac:picMk id="11" creationId="{96D9CE84-611F-11FF-9D23-072F0EC4BCEA}"/>
          </ac:picMkLst>
        </pc:picChg>
      </pc:sldChg>
      <pc:sldChg chg="del">
        <pc:chgData name="Goertz, Benjamin" userId="7bbcdc09-a17a-459e-9ed5-6cf1c589f103" providerId="ADAL" clId="{BBA05E9E-2D08-40CB-93E8-F21758CC8115}" dt="2025-05-09T12:23:26.997" v="22" actId="47"/>
        <pc:sldMkLst>
          <pc:docMk/>
          <pc:sldMk cId="3893679779" sldId="425"/>
        </pc:sldMkLst>
      </pc:sldChg>
      <pc:sldChg chg="addSp delSp modSp del mod">
        <pc:chgData name="Goertz, Benjamin" userId="7bbcdc09-a17a-459e-9ed5-6cf1c589f103" providerId="ADAL" clId="{BBA05E9E-2D08-40CB-93E8-F21758CC8115}" dt="2025-05-19T20:55:36.748" v="1553" actId="47"/>
        <pc:sldMkLst>
          <pc:docMk/>
          <pc:sldMk cId="2458097989" sldId="426"/>
        </pc:sldMkLst>
      </pc:sldChg>
      <pc:sldChg chg="addSp delSp modSp mod">
        <pc:chgData name="Goertz, Benjamin" userId="7bbcdc09-a17a-459e-9ed5-6cf1c589f103" providerId="ADAL" clId="{BBA05E9E-2D08-40CB-93E8-F21758CC8115}" dt="2025-05-21T11:44:18.314" v="1899" actId="478"/>
        <pc:sldMkLst>
          <pc:docMk/>
          <pc:sldMk cId="4285287239" sldId="427"/>
        </pc:sldMkLst>
        <pc:spChg chg="mod">
          <ac:chgData name="Goertz, Benjamin" userId="7bbcdc09-a17a-459e-9ed5-6cf1c589f103" providerId="ADAL" clId="{BBA05E9E-2D08-40CB-93E8-F21758CC8115}" dt="2025-05-19T20:13:04.750" v="484" actId="20577"/>
          <ac:spMkLst>
            <pc:docMk/>
            <pc:sldMk cId="4285287239" sldId="427"/>
            <ac:spMk id="2" creationId="{6E475C2E-6FB7-DBC4-BECA-FF5F257B377F}"/>
          </ac:spMkLst>
        </pc:spChg>
        <pc:spChg chg="add del mod">
          <ac:chgData name="Goertz, Benjamin" userId="7bbcdc09-a17a-459e-9ed5-6cf1c589f103" providerId="ADAL" clId="{BBA05E9E-2D08-40CB-93E8-F21758CC8115}" dt="2025-05-21T11:44:18.314" v="1899" actId="478"/>
          <ac:spMkLst>
            <pc:docMk/>
            <pc:sldMk cId="4285287239" sldId="427"/>
            <ac:spMk id="4" creationId="{C947C677-8494-2DC3-DFAA-8030BF4E2640}"/>
          </ac:spMkLst>
        </pc:spChg>
        <pc:picChg chg="add mod">
          <ac:chgData name="Goertz, Benjamin" userId="7bbcdc09-a17a-459e-9ed5-6cf1c589f103" providerId="ADAL" clId="{BBA05E9E-2D08-40CB-93E8-F21758CC8115}" dt="2025-05-19T21:44:41.302" v="1859" actId="1076"/>
          <ac:picMkLst>
            <pc:docMk/>
            <pc:sldMk cId="4285287239" sldId="427"/>
            <ac:picMk id="5" creationId="{73CB722D-792B-0C96-ED9E-82F2B1E035A2}"/>
          </ac:picMkLst>
        </pc:picChg>
      </pc:sldChg>
      <pc:sldChg chg="del">
        <pc:chgData name="Goertz, Benjamin" userId="7bbcdc09-a17a-459e-9ed5-6cf1c589f103" providerId="ADAL" clId="{BBA05E9E-2D08-40CB-93E8-F21758CC8115}" dt="2025-05-09T12:23:57.483" v="36" actId="47"/>
        <pc:sldMkLst>
          <pc:docMk/>
          <pc:sldMk cId="4005886413" sldId="428"/>
        </pc:sldMkLst>
      </pc:sldChg>
      <pc:sldChg chg="del">
        <pc:chgData name="Goertz, Benjamin" userId="7bbcdc09-a17a-459e-9ed5-6cf1c589f103" providerId="ADAL" clId="{BBA05E9E-2D08-40CB-93E8-F21758CC8115}" dt="2025-05-09T12:23:52.304" v="32" actId="47"/>
        <pc:sldMkLst>
          <pc:docMk/>
          <pc:sldMk cId="2333943453" sldId="429"/>
        </pc:sldMkLst>
      </pc:sldChg>
      <pc:sldChg chg="del">
        <pc:chgData name="Goertz, Benjamin" userId="7bbcdc09-a17a-459e-9ed5-6cf1c589f103" providerId="ADAL" clId="{BBA05E9E-2D08-40CB-93E8-F21758CC8115}" dt="2025-05-09T12:23:53.578" v="33" actId="47"/>
        <pc:sldMkLst>
          <pc:docMk/>
          <pc:sldMk cId="3546916174" sldId="430"/>
        </pc:sldMkLst>
      </pc:sldChg>
      <pc:sldChg chg="del">
        <pc:chgData name="Goertz, Benjamin" userId="7bbcdc09-a17a-459e-9ed5-6cf1c589f103" providerId="ADAL" clId="{BBA05E9E-2D08-40CB-93E8-F21758CC8115}" dt="2025-05-09T12:23:58.617" v="37" actId="47"/>
        <pc:sldMkLst>
          <pc:docMk/>
          <pc:sldMk cId="1119320351" sldId="431"/>
        </pc:sldMkLst>
      </pc:sldChg>
      <pc:sldChg chg="del">
        <pc:chgData name="Goertz, Benjamin" userId="7bbcdc09-a17a-459e-9ed5-6cf1c589f103" providerId="ADAL" clId="{BBA05E9E-2D08-40CB-93E8-F21758CC8115}" dt="2025-05-09T12:23:54.752" v="34" actId="47"/>
        <pc:sldMkLst>
          <pc:docMk/>
          <pc:sldMk cId="1303442318" sldId="432"/>
        </pc:sldMkLst>
      </pc:sldChg>
      <pc:sldChg chg="modSp del mod">
        <pc:chgData name="Goertz, Benjamin" userId="7bbcdc09-a17a-459e-9ed5-6cf1c589f103" providerId="ADAL" clId="{BBA05E9E-2D08-40CB-93E8-F21758CC8115}" dt="2025-05-19T20:17:39.216" v="710" actId="47"/>
        <pc:sldMkLst>
          <pc:docMk/>
          <pc:sldMk cId="3781640535" sldId="433"/>
        </pc:sldMkLst>
      </pc:sldChg>
      <pc:sldChg chg="del">
        <pc:chgData name="Goertz, Benjamin" userId="7bbcdc09-a17a-459e-9ed5-6cf1c589f103" providerId="ADAL" clId="{BBA05E9E-2D08-40CB-93E8-F21758CC8115}" dt="2025-05-09T12:24:17.308" v="44" actId="47"/>
        <pc:sldMkLst>
          <pc:docMk/>
          <pc:sldMk cId="2510951506" sldId="434"/>
        </pc:sldMkLst>
      </pc:sldChg>
      <pc:sldChg chg="del">
        <pc:chgData name="Goertz, Benjamin" userId="7bbcdc09-a17a-459e-9ed5-6cf1c589f103" providerId="ADAL" clId="{BBA05E9E-2D08-40CB-93E8-F21758CC8115}" dt="2025-05-09T12:24:18.635" v="45" actId="47"/>
        <pc:sldMkLst>
          <pc:docMk/>
          <pc:sldMk cId="1680964770" sldId="435"/>
        </pc:sldMkLst>
      </pc:sldChg>
      <pc:sldChg chg="addSp delSp modSp mod">
        <pc:chgData name="Goertz, Benjamin" userId="7bbcdc09-a17a-459e-9ed5-6cf1c589f103" providerId="ADAL" clId="{BBA05E9E-2D08-40CB-93E8-F21758CC8115}" dt="2025-05-19T20:39:06.705" v="1333" actId="20577"/>
        <pc:sldMkLst>
          <pc:docMk/>
          <pc:sldMk cId="2066815088" sldId="436"/>
        </pc:sldMkLst>
        <pc:spChg chg="mod">
          <ac:chgData name="Goertz, Benjamin" userId="7bbcdc09-a17a-459e-9ed5-6cf1c589f103" providerId="ADAL" clId="{BBA05E9E-2D08-40CB-93E8-F21758CC8115}" dt="2025-05-09T12:24:31.130" v="47" actId="6549"/>
          <ac:spMkLst>
            <pc:docMk/>
            <pc:sldMk cId="2066815088" sldId="436"/>
            <ac:spMk id="2" creationId="{02D73ED5-0A65-C22C-9AAA-A6BCA498A762}"/>
          </ac:spMkLst>
        </pc:spChg>
        <pc:spChg chg="mod">
          <ac:chgData name="Goertz, Benjamin" userId="7bbcdc09-a17a-459e-9ed5-6cf1c589f103" providerId="ADAL" clId="{BBA05E9E-2D08-40CB-93E8-F21758CC8115}" dt="2025-05-19T20:39:06.705" v="1333" actId="20577"/>
          <ac:spMkLst>
            <pc:docMk/>
            <pc:sldMk cId="2066815088" sldId="436"/>
            <ac:spMk id="3" creationId="{9D7BE6E0-B2C5-1414-F385-611BE1AA43DD}"/>
          </ac:spMkLst>
        </pc:spChg>
        <pc:picChg chg="add mod">
          <ac:chgData name="Goertz, Benjamin" userId="7bbcdc09-a17a-459e-9ed5-6cf1c589f103" providerId="ADAL" clId="{BBA05E9E-2D08-40CB-93E8-F21758CC8115}" dt="2025-05-19T20:38:45.932" v="1304" actId="1076"/>
          <ac:picMkLst>
            <pc:docMk/>
            <pc:sldMk cId="2066815088" sldId="436"/>
            <ac:picMk id="5" creationId="{033C0EDD-3A83-C330-EF57-737464ABBD26}"/>
          </ac:picMkLst>
        </pc:picChg>
      </pc:sldChg>
      <pc:sldChg chg="del">
        <pc:chgData name="Goertz, Benjamin" userId="7bbcdc09-a17a-459e-9ed5-6cf1c589f103" providerId="ADAL" clId="{BBA05E9E-2D08-40CB-93E8-F21758CC8115}" dt="2025-05-09T12:24:43.713" v="51" actId="47"/>
        <pc:sldMkLst>
          <pc:docMk/>
          <pc:sldMk cId="1758231670" sldId="437"/>
        </pc:sldMkLst>
      </pc:sldChg>
      <pc:sldChg chg="del">
        <pc:chgData name="Goertz, Benjamin" userId="7bbcdc09-a17a-459e-9ed5-6cf1c589f103" providerId="ADAL" clId="{BBA05E9E-2D08-40CB-93E8-F21758CC8115}" dt="2025-05-09T12:23:43.818" v="27" actId="47"/>
        <pc:sldMkLst>
          <pc:docMk/>
          <pc:sldMk cId="2765762745" sldId="438"/>
        </pc:sldMkLst>
      </pc:sldChg>
      <pc:sldChg chg="del">
        <pc:chgData name="Goertz, Benjamin" userId="7bbcdc09-a17a-459e-9ed5-6cf1c589f103" providerId="ADAL" clId="{BBA05E9E-2D08-40CB-93E8-F21758CC8115}" dt="2025-05-09T12:23:45.266" v="28" actId="47"/>
        <pc:sldMkLst>
          <pc:docMk/>
          <pc:sldMk cId="2730178056" sldId="439"/>
        </pc:sldMkLst>
      </pc:sldChg>
      <pc:sldChg chg="del">
        <pc:chgData name="Goertz, Benjamin" userId="7bbcdc09-a17a-459e-9ed5-6cf1c589f103" providerId="ADAL" clId="{BBA05E9E-2D08-40CB-93E8-F21758CC8115}" dt="2025-05-09T12:23:38.223" v="25" actId="47"/>
        <pc:sldMkLst>
          <pc:docMk/>
          <pc:sldMk cId="4162728540" sldId="440"/>
        </pc:sldMkLst>
      </pc:sldChg>
      <pc:sldChg chg="delSp modSp del mod">
        <pc:chgData name="Goertz, Benjamin" userId="7bbcdc09-a17a-459e-9ed5-6cf1c589f103" providerId="ADAL" clId="{BBA05E9E-2D08-40CB-93E8-F21758CC8115}" dt="2025-05-19T21:38:44.827" v="1616" actId="47"/>
        <pc:sldMkLst>
          <pc:docMk/>
          <pc:sldMk cId="3808792113" sldId="441"/>
        </pc:sldMkLst>
      </pc:sldChg>
      <pc:sldChg chg="modSp new mod">
        <pc:chgData name="Goertz, Benjamin" userId="7bbcdc09-a17a-459e-9ed5-6cf1c589f103" providerId="ADAL" clId="{BBA05E9E-2D08-40CB-93E8-F21758CC8115}" dt="2025-05-09T12:33:54.871" v="147" actId="20577"/>
        <pc:sldMkLst>
          <pc:docMk/>
          <pc:sldMk cId="2099519321" sldId="442"/>
        </pc:sldMkLst>
      </pc:sldChg>
      <pc:sldChg chg="new del">
        <pc:chgData name="Goertz, Benjamin" userId="7bbcdc09-a17a-459e-9ed5-6cf1c589f103" providerId="ADAL" clId="{BBA05E9E-2D08-40CB-93E8-F21758CC8115}" dt="2025-05-09T12:34:04.856" v="150" actId="47"/>
        <pc:sldMkLst>
          <pc:docMk/>
          <pc:sldMk cId="1195560905" sldId="443"/>
        </pc:sldMkLst>
      </pc:sldChg>
      <pc:sldChg chg="add">
        <pc:chgData name="Goertz, Benjamin" userId="7bbcdc09-a17a-459e-9ed5-6cf1c589f103" providerId="ADAL" clId="{BBA05E9E-2D08-40CB-93E8-F21758CC8115}" dt="2025-05-09T12:34:03.106" v="149"/>
        <pc:sldMkLst>
          <pc:docMk/>
          <pc:sldMk cId="329520796" sldId="444"/>
        </pc:sldMkLst>
      </pc:sldChg>
      <pc:sldChg chg="addSp modSp new mod">
        <pc:chgData name="Goertz, Benjamin" userId="7bbcdc09-a17a-459e-9ed5-6cf1c589f103" providerId="ADAL" clId="{BBA05E9E-2D08-40CB-93E8-F21758CC8115}" dt="2025-05-19T21:38:41.523" v="1615" actId="1036"/>
        <pc:sldMkLst>
          <pc:docMk/>
          <pc:sldMk cId="965997170" sldId="445"/>
        </pc:sldMkLst>
        <pc:spChg chg="mod">
          <ac:chgData name="Goertz, Benjamin" userId="7bbcdc09-a17a-459e-9ed5-6cf1c589f103" providerId="ADAL" clId="{BBA05E9E-2D08-40CB-93E8-F21758CC8115}" dt="2025-05-09T12:45:50.609" v="215" actId="20577"/>
          <ac:spMkLst>
            <pc:docMk/>
            <pc:sldMk cId="965997170" sldId="445"/>
            <ac:spMk id="2" creationId="{5ACE27D5-BB08-636E-69C4-02A3E3582B8B}"/>
          </ac:spMkLst>
        </pc:spChg>
        <pc:picChg chg="add mod">
          <ac:chgData name="Goertz, Benjamin" userId="7bbcdc09-a17a-459e-9ed5-6cf1c589f103" providerId="ADAL" clId="{BBA05E9E-2D08-40CB-93E8-F21758CC8115}" dt="2025-05-19T21:38:41.523" v="1615" actId="1036"/>
          <ac:picMkLst>
            <pc:docMk/>
            <pc:sldMk cId="965997170" sldId="445"/>
            <ac:picMk id="5" creationId="{88044EAF-F454-4193-7174-E277E6A4CD65}"/>
          </ac:picMkLst>
        </pc:picChg>
      </pc:sldChg>
      <pc:sldChg chg="add">
        <pc:chgData name="Goertz, Benjamin" userId="7bbcdc09-a17a-459e-9ed5-6cf1c589f103" providerId="ADAL" clId="{BBA05E9E-2D08-40CB-93E8-F21758CC8115}" dt="2025-05-19T20:03:29.329" v="219" actId="2890"/>
        <pc:sldMkLst>
          <pc:docMk/>
          <pc:sldMk cId="3994767116" sldId="448"/>
        </pc:sldMkLst>
      </pc:sldChg>
      <pc:sldChg chg="modSp add mod">
        <pc:chgData name="Goertz, Benjamin" userId="7bbcdc09-a17a-459e-9ed5-6cf1c589f103" providerId="ADAL" clId="{BBA05E9E-2D08-40CB-93E8-F21758CC8115}" dt="2025-05-19T20:05:00.769" v="282" actId="1036"/>
        <pc:sldMkLst>
          <pc:docMk/>
          <pc:sldMk cId="78077203" sldId="449"/>
        </pc:sldMkLst>
        <pc:picChg chg="mod">
          <ac:chgData name="Goertz, Benjamin" userId="7bbcdc09-a17a-459e-9ed5-6cf1c589f103" providerId="ADAL" clId="{BBA05E9E-2D08-40CB-93E8-F21758CC8115}" dt="2025-05-19T20:05:00.769" v="282" actId="1036"/>
          <ac:picMkLst>
            <pc:docMk/>
            <pc:sldMk cId="78077203" sldId="449"/>
            <ac:picMk id="7" creationId="{1C989C71-9AAF-C752-D3DC-1827791DAB1F}"/>
          </ac:picMkLst>
        </pc:picChg>
      </pc:sldChg>
      <pc:sldChg chg="addSp delSp modSp add mod">
        <pc:chgData name="Goertz, Benjamin" userId="7bbcdc09-a17a-459e-9ed5-6cf1c589f103" providerId="ADAL" clId="{BBA05E9E-2D08-40CB-93E8-F21758CC8115}" dt="2025-05-19T20:06:08.127" v="309" actId="1036"/>
        <pc:sldMkLst>
          <pc:docMk/>
          <pc:sldMk cId="4002050058" sldId="450"/>
        </pc:sldMkLst>
        <pc:spChg chg="add mod">
          <ac:chgData name="Goertz, Benjamin" userId="7bbcdc09-a17a-459e-9ed5-6cf1c589f103" providerId="ADAL" clId="{BBA05E9E-2D08-40CB-93E8-F21758CC8115}" dt="2025-05-19T20:06:02.785" v="287" actId="478"/>
          <ac:spMkLst>
            <pc:docMk/>
            <pc:sldMk cId="4002050058" sldId="450"/>
            <ac:spMk id="4" creationId="{FDE68A3D-0FBD-D6FA-6435-CA593FBE64E4}"/>
          </ac:spMkLst>
        </pc:spChg>
        <pc:picChg chg="add mod">
          <ac:chgData name="Goertz, Benjamin" userId="7bbcdc09-a17a-459e-9ed5-6cf1c589f103" providerId="ADAL" clId="{BBA05E9E-2D08-40CB-93E8-F21758CC8115}" dt="2025-05-19T20:06:08.127" v="309" actId="1036"/>
          <ac:picMkLst>
            <pc:docMk/>
            <pc:sldMk cId="4002050058" sldId="450"/>
            <ac:picMk id="7" creationId="{D572BD9C-0350-BF47-3112-CC061912AB9D}"/>
          </ac:picMkLst>
        </pc:picChg>
      </pc:sldChg>
      <pc:sldChg chg="addSp delSp modSp add mod">
        <pc:chgData name="Goertz, Benjamin" userId="7bbcdc09-a17a-459e-9ed5-6cf1c589f103" providerId="ADAL" clId="{BBA05E9E-2D08-40CB-93E8-F21758CC8115}" dt="2025-05-19T20:06:29.045" v="338" actId="1036"/>
        <pc:sldMkLst>
          <pc:docMk/>
          <pc:sldMk cId="3065340610" sldId="451"/>
        </pc:sldMkLst>
        <pc:picChg chg="add mod">
          <ac:chgData name="Goertz, Benjamin" userId="7bbcdc09-a17a-459e-9ed5-6cf1c589f103" providerId="ADAL" clId="{BBA05E9E-2D08-40CB-93E8-F21758CC8115}" dt="2025-05-19T20:06:29.045" v="338" actId="1036"/>
          <ac:picMkLst>
            <pc:docMk/>
            <pc:sldMk cId="3065340610" sldId="451"/>
            <ac:picMk id="5" creationId="{46CA60A8-B5D0-5218-4212-A885952F6719}"/>
          </ac:picMkLst>
        </pc:picChg>
      </pc:sldChg>
      <pc:sldChg chg="addSp delSp modSp add mod">
        <pc:chgData name="Goertz, Benjamin" userId="7bbcdc09-a17a-459e-9ed5-6cf1c589f103" providerId="ADAL" clId="{BBA05E9E-2D08-40CB-93E8-F21758CC8115}" dt="2025-05-19T20:06:42.664" v="357" actId="1036"/>
        <pc:sldMkLst>
          <pc:docMk/>
          <pc:sldMk cId="2320015853" sldId="452"/>
        </pc:sldMkLst>
        <pc:picChg chg="add mod">
          <ac:chgData name="Goertz, Benjamin" userId="7bbcdc09-a17a-459e-9ed5-6cf1c589f103" providerId="ADAL" clId="{BBA05E9E-2D08-40CB-93E8-F21758CC8115}" dt="2025-05-19T20:06:42.664" v="357" actId="1036"/>
          <ac:picMkLst>
            <pc:docMk/>
            <pc:sldMk cId="2320015853" sldId="452"/>
            <ac:picMk id="6" creationId="{F1E9688D-D765-8973-F813-CE7D19951A9A}"/>
          </ac:picMkLst>
        </pc:picChg>
      </pc:sldChg>
      <pc:sldChg chg="addSp delSp modSp add mod">
        <pc:chgData name="Goertz, Benjamin" userId="7bbcdc09-a17a-459e-9ed5-6cf1c589f103" providerId="ADAL" clId="{BBA05E9E-2D08-40CB-93E8-F21758CC8115}" dt="2025-05-19T20:07:02.529" v="383" actId="1036"/>
        <pc:sldMkLst>
          <pc:docMk/>
          <pc:sldMk cId="1378718856" sldId="453"/>
        </pc:sldMkLst>
        <pc:picChg chg="add mod">
          <ac:chgData name="Goertz, Benjamin" userId="7bbcdc09-a17a-459e-9ed5-6cf1c589f103" providerId="ADAL" clId="{BBA05E9E-2D08-40CB-93E8-F21758CC8115}" dt="2025-05-19T20:07:02.529" v="383" actId="1036"/>
          <ac:picMkLst>
            <pc:docMk/>
            <pc:sldMk cId="1378718856" sldId="453"/>
            <ac:picMk id="5" creationId="{B89625A5-8D7F-BFC1-9F0F-81EF771B4F71}"/>
          </ac:picMkLst>
        </pc:picChg>
      </pc:sldChg>
      <pc:sldChg chg="addSp delSp modSp add mod">
        <pc:chgData name="Goertz, Benjamin" userId="7bbcdc09-a17a-459e-9ed5-6cf1c589f103" providerId="ADAL" clId="{BBA05E9E-2D08-40CB-93E8-F21758CC8115}" dt="2025-05-19T20:07:35.271" v="404" actId="1036"/>
        <pc:sldMkLst>
          <pc:docMk/>
          <pc:sldMk cId="301695707" sldId="454"/>
        </pc:sldMkLst>
        <pc:picChg chg="add mod">
          <ac:chgData name="Goertz, Benjamin" userId="7bbcdc09-a17a-459e-9ed5-6cf1c589f103" providerId="ADAL" clId="{BBA05E9E-2D08-40CB-93E8-F21758CC8115}" dt="2025-05-19T20:07:35.271" v="404" actId="1036"/>
          <ac:picMkLst>
            <pc:docMk/>
            <pc:sldMk cId="301695707" sldId="454"/>
            <ac:picMk id="4" creationId="{CFD9200E-B531-7CAC-F1E2-9A3E3D2E94DA}"/>
          </ac:picMkLst>
        </pc:picChg>
      </pc:sldChg>
      <pc:sldChg chg="modSp add mod">
        <pc:chgData name="Goertz, Benjamin" userId="7bbcdc09-a17a-459e-9ed5-6cf1c589f103" providerId="ADAL" clId="{BBA05E9E-2D08-40CB-93E8-F21758CC8115}" dt="2025-05-19T20:17:28.682" v="695" actId="20577"/>
        <pc:sldMkLst>
          <pc:docMk/>
          <pc:sldMk cId="1372719168" sldId="455"/>
        </pc:sldMkLst>
        <pc:spChg chg="mod">
          <ac:chgData name="Goertz, Benjamin" userId="7bbcdc09-a17a-459e-9ed5-6cf1c589f103" providerId="ADAL" clId="{BBA05E9E-2D08-40CB-93E8-F21758CC8115}" dt="2025-05-19T20:17:28.682" v="695" actId="20577"/>
          <ac:spMkLst>
            <pc:docMk/>
            <pc:sldMk cId="1372719168" sldId="455"/>
            <ac:spMk id="2" creationId="{DFFD1340-5FF5-7861-51FB-3E255CFCAB51}"/>
          </ac:spMkLst>
        </pc:spChg>
        <pc:picChg chg="mod modCrop">
          <ac:chgData name="Goertz, Benjamin" userId="7bbcdc09-a17a-459e-9ed5-6cf1c589f103" providerId="ADAL" clId="{BBA05E9E-2D08-40CB-93E8-F21758CC8115}" dt="2025-05-19T20:08:51.965" v="417" actId="1035"/>
          <ac:picMkLst>
            <pc:docMk/>
            <pc:sldMk cId="1372719168" sldId="455"/>
            <ac:picMk id="5" creationId="{F510CEE8-E8F3-F66C-8049-76FA974300D9}"/>
          </ac:picMkLst>
        </pc:picChg>
      </pc:sldChg>
      <pc:sldChg chg="addSp delSp modSp add mod">
        <pc:chgData name="Goertz, Benjamin" userId="7bbcdc09-a17a-459e-9ed5-6cf1c589f103" providerId="ADAL" clId="{BBA05E9E-2D08-40CB-93E8-F21758CC8115}" dt="2025-05-19T20:11:02.889" v="459" actId="14100"/>
        <pc:sldMkLst>
          <pc:docMk/>
          <pc:sldMk cId="3218044045" sldId="456"/>
        </pc:sldMkLst>
        <pc:picChg chg="add mod modCrop">
          <ac:chgData name="Goertz, Benjamin" userId="7bbcdc09-a17a-459e-9ed5-6cf1c589f103" providerId="ADAL" clId="{BBA05E9E-2D08-40CB-93E8-F21758CC8115}" dt="2025-05-19T20:11:02.889" v="459" actId="14100"/>
          <ac:picMkLst>
            <pc:docMk/>
            <pc:sldMk cId="3218044045" sldId="456"/>
            <ac:picMk id="6" creationId="{5B9ABED8-65EA-569B-B078-B3C92F7EF5C3}"/>
          </ac:picMkLst>
        </pc:picChg>
      </pc:sldChg>
      <pc:sldChg chg="modSp add mod">
        <pc:chgData name="Goertz, Benjamin" userId="7bbcdc09-a17a-459e-9ed5-6cf1c589f103" providerId="ADAL" clId="{BBA05E9E-2D08-40CB-93E8-F21758CC8115}" dt="2025-05-19T20:12:11.128" v="468" actId="732"/>
        <pc:sldMkLst>
          <pc:docMk/>
          <pc:sldMk cId="3093677861" sldId="457"/>
        </pc:sldMkLst>
        <pc:picChg chg="mod modCrop">
          <ac:chgData name="Goertz, Benjamin" userId="7bbcdc09-a17a-459e-9ed5-6cf1c589f103" providerId="ADAL" clId="{BBA05E9E-2D08-40CB-93E8-F21758CC8115}" dt="2025-05-19T20:12:11.128" v="468" actId="732"/>
          <ac:picMkLst>
            <pc:docMk/>
            <pc:sldMk cId="3093677861" sldId="457"/>
            <ac:picMk id="6" creationId="{231DFBEA-8AA4-48B4-F607-14D0088CC883}"/>
          </ac:picMkLst>
        </pc:picChg>
      </pc:sldChg>
      <pc:sldChg chg="addSp modSp add mod">
        <pc:chgData name="Goertz, Benjamin" userId="7bbcdc09-a17a-459e-9ed5-6cf1c589f103" providerId="ADAL" clId="{BBA05E9E-2D08-40CB-93E8-F21758CC8115}" dt="2025-05-19T20:20:21.732" v="720" actId="14100"/>
        <pc:sldMkLst>
          <pc:docMk/>
          <pc:sldMk cId="45889229" sldId="458"/>
        </pc:sldMkLst>
        <pc:picChg chg="add mod">
          <ac:chgData name="Goertz, Benjamin" userId="7bbcdc09-a17a-459e-9ed5-6cf1c589f103" providerId="ADAL" clId="{BBA05E9E-2D08-40CB-93E8-F21758CC8115}" dt="2025-05-19T20:20:21.732" v="720" actId="14100"/>
          <ac:picMkLst>
            <pc:docMk/>
            <pc:sldMk cId="45889229" sldId="458"/>
            <ac:picMk id="5" creationId="{27C5E455-29DC-84EE-DD14-79F2FA9BD988}"/>
          </ac:picMkLst>
        </pc:picChg>
      </pc:sldChg>
      <pc:sldChg chg="addSp modSp add mod">
        <pc:chgData name="Goertz, Benjamin" userId="7bbcdc09-a17a-459e-9ed5-6cf1c589f103" providerId="ADAL" clId="{BBA05E9E-2D08-40CB-93E8-F21758CC8115}" dt="2025-05-19T21:38:10.032" v="1587" actId="1036"/>
        <pc:sldMkLst>
          <pc:docMk/>
          <pc:sldMk cId="774082911" sldId="459"/>
        </pc:sldMkLst>
        <pc:picChg chg="add mod">
          <ac:chgData name="Goertz, Benjamin" userId="7bbcdc09-a17a-459e-9ed5-6cf1c589f103" providerId="ADAL" clId="{BBA05E9E-2D08-40CB-93E8-F21758CC8115}" dt="2025-05-19T21:38:10.032" v="1587" actId="1036"/>
          <ac:picMkLst>
            <pc:docMk/>
            <pc:sldMk cId="774082911" sldId="459"/>
            <ac:picMk id="5" creationId="{376E309E-A5EA-685D-A36B-E58298E01191}"/>
          </ac:picMkLst>
        </pc:picChg>
      </pc:sldChg>
      <pc:sldChg chg="addSp delSp modSp add mod">
        <pc:chgData name="Goertz, Benjamin" userId="7bbcdc09-a17a-459e-9ed5-6cf1c589f103" providerId="ADAL" clId="{BBA05E9E-2D08-40CB-93E8-F21758CC8115}" dt="2025-05-21T11:44:12.357" v="1898" actId="478"/>
        <pc:sldMkLst>
          <pc:docMk/>
          <pc:sldMk cId="3290277344" sldId="460"/>
        </pc:sldMkLst>
        <pc:spChg chg="del">
          <ac:chgData name="Goertz, Benjamin" userId="7bbcdc09-a17a-459e-9ed5-6cf1c589f103" providerId="ADAL" clId="{BBA05E9E-2D08-40CB-93E8-F21758CC8115}" dt="2025-05-21T11:44:12.357" v="1898" actId="478"/>
          <ac:spMkLst>
            <pc:docMk/>
            <pc:sldMk cId="3290277344" sldId="460"/>
            <ac:spMk id="4" creationId="{3A91E58E-2317-5720-70DE-B8A85C483145}"/>
          </ac:spMkLst>
        </pc:spChg>
        <pc:picChg chg="add mod">
          <ac:chgData name="Goertz, Benjamin" userId="7bbcdc09-a17a-459e-9ed5-6cf1c589f103" providerId="ADAL" clId="{BBA05E9E-2D08-40CB-93E8-F21758CC8115}" dt="2025-05-19T21:45:19.629" v="1897" actId="1035"/>
          <ac:picMkLst>
            <pc:docMk/>
            <pc:sldMk cId="3290277344" sldId="460"/>
            <ac:picMk id="6" creationId="{12204356-94B3-E901-291D-19398E87DDF5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7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color</c:v>
                </c:pt>
              </c:strCache>
            </c:strRef>
          </c:tx>
          <c:spPr>
            <a:solidFill>
              <a:srgbClr val="D34727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1C-4681-A508-4659903BF6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 color</c:v>
                </c:pt>
              </c:strCache>
            </c:strRef>
          </c:tx>
          <c:spPr>
            <a:solidFill>
              <a:srgbClr val="E1833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1C-4681-A508-4659903BF65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 color</c:v>
                </c:pt>
              </c:strCache>
            </c:strRef>
          </c:tx>
          <c:spPr>
            <a:solidFill>
              <a:srgbClr val="FEC745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1C-4681-A508-4659903BF65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 color</c:v>
                </c:pt>
              </c:strCache>
            </c:strRef>
          </c:tx>
          <c:spPr>
            <a:solidFill>
              <a:srgbClr val="27B3D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1C-4681-A508-4659903BF65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 color</c:v>
                </c:pt>
              </c:strCache>
            </c:strRef>
          </c:tx>
          <c:spPr>
            <a:solidFill>
              <a:srgbClr val="0088BA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1C-4681-A508-4659903BF65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6 color</c:v>
                </c:pt>
              </c:strCache>
            </c:strRef>
          </c:tx>
          <c:spPr>
            <a:solidFill>
              <a:srgbClr val="88BA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8BA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11C-4681-A508-4659903BF656}"/>
              </c:ext>
            </c:extLst>
          </c:dPt>
          <c:dPt>
            <c:idx val="1"/>
            <c:invertIfNegative val="0"/>
            <c:bubble3D val="0"/>
            <c:spPr>
              <a:solidFill>
                <a:srgbClr val="88BA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711C-4681-A508-4659903BF656}"/>
              </c:ext>
            </c:extLst>
          </c:dPt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11C-4681-A508-4659903BF656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7 color</c:v>
                </c:pt>
              </c:strCache>
            </c:strRef>
          </c:tx>
          <c:spPr>
            <a:solidFill>
              <a:srgbClr val="934E1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34E1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11C-4681-A508-4659903BF656}"/>
              </c:ext>
            </c:extLst>
          </c:dPt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H$2:$H$3</c:f>
              <c:numCache>
                <c:formatCode>General</c:formatCode>
                <c:ptCount val="2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11C-4681-A508-4659903BF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78063408"/>
        <c:axId val="1298492384"/>
      </c:barChart>
      <c:catAx>
        <c:axId val="107806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98492384"/>
        <c:crosses val="autoZero"/>
        <c:auto val="1"/>
        <c:lblAlgn val="ctr"/>
        <c:lblOffset val="100"/>
        <c:noMultiLvlLbl val="0"/>
      </c:catAx>
      <c:valAx>
        <c:axId val="129849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7806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D3472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762-43A8-AFF0-D6FE13D292E3}"/>
              </c:ext>
            </c:extLst>
          </c:dPt>
          <c:dPt>
            <c:idx val="1"/>
            <c:bubble3D val="0"/>
            <c:spPr>
              <a:solidFill>
                <a:srgbClr val="E1833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762-43A8-AFF0-D6FE13D292E3}"/>
              </c:ext>
            </c:extLst>
          </c:dPt>
          <c:dPt>
            <c:idx val="2"/>
            <c:bubble3D val="0"/>
            <c:spPr>
              <a:solidFill>
                <a:srgbClr val="FEC24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762-43A8-AFF0-D6FE13D292E3}"/>
              </c:ext>
            </c:extLst>
          </c:dPt>
          <c:dPt>
            <c:idx val="3"/>
            <c:bubble3D val="0"/>
            <c:spPr>
              <a:solidFill>
                <a:srgbClr val="27B3D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762-43A8-AFF0-D6FE13D292E3}"/>
              </c:ext>
            </c:extLst>
          </c:dPt>
          <c:dPt>
            <c:idx val="4"/>
            <c:bubble3D val="0"/>
            <c:spPr>
              <a:solidFill>
                <a:srgbClr val="0088BA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762-43A8-AFF0-D6FE13D292E3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762-43A8-AFF0-D6FE13D292E3}"/>
              </c:ext>
            </c:extLst>
          </c:dPt>
          <c:dPt>
            <c:idx val="6"/>
            <c:bubble3D val="0"/>
            <c:spPr>
              <a:solidFill>
                <a:srgbClr val="934E1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B762-43A8-AFF0-D6FE13D292E3}"/>
              </c:ext>
            </c:extLst>
          </c:dPt>
          <c:dPt>
            <c:idx val="7"/>
            <c:bubble3D val="0"/>
            <c:spPr>
              <a:solidFill>
                <a:srgbClr val="88BA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762-43A8-AFF0-D6FE13D292E3}"/>
              </c:ext>
            </c:extLst>
          </c:dPt>
          <c:cat>
            <c:strRef>
              <c:f>Sheet1!$A$2:$A$9</c:f>
              <c:strCache>
                <c:ptCount val="8"/>
                <c:pt idx="0">
                  <c:v>1 color</c:v>
                </c:pt>
                <c:pt idx="1">
                  <c:v>2 color</c:v>
                </c:pt>
                <c:pt idx="2">
                  <c:v>3 color</c:v>
                </c:pt>
                <c:pt idx="3">
                  <c:v>4 color</c:v>
                </c:pt>
                <c:pt idx="4">
                  <c:v>5 color</c:v>
                </c:pt>
                <c:pt idx="5">
                  <c:v>6 color</c:v>
                </c:pt>
                <c:pt idx="6">
                  <c:v>7 color</c:v>
                </c:pt>
                <c:pt idx="7">
                  <c:v>8 colo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762-43A8-AFF0-D6FE13D292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pril FRM </a:t>
            </a:r>
            <a:r>
              <a:rPr lang="en-US" baseline="0"/>
              <a:t>Audits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April!$B$3</c:f>
              <c:strCache>
                <c:ptCount val="1"/>
                <c:pt idx="0">
                  <c:v>No Missing Control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April!$A$4:$A$24</c:f>
              <c:strCache>
                <c:ptCount val="21"/>
                <c:pt idx="0">
                  <c:v>Personnel Hoisting</c:v>
                </c:pt>
                <c:pt idx="1">
                  <c:v>Drowning</c:v>
                </c:pt>
                <c:pt idx="2">
                  <c:v>Entanglement and Crushing</c:v>
                </c:pt>
                <c:pt idx="3">
                  <c:v>Hazardous Substances Acute</c:v>
                </c:pt>
                <c:pt idx="4">
                  <c:v>Vehicle Collisions or Rollover</c:v>
                </c:pt>
                <c:pt idx="5">
                  <c:v>Exposure to Electrical Hazards</c:v>
                </c:pt>
                <c:pt idx="6">
                  <c:v>Vehicle Impact on Person</c:v>
                </c:pt>
                <c:pt idx="7">
                  <c:v>Fall from Heights</c:v>
                </c:pt>
                <c:pt idx="8">
                  <c:v>Lifting Operations</c:v>
                </c:pt>
                <c:pt idx="9">
                  <c:v>Uncontrolled Release of Energy Mapped</c:v>
                </c:pt>
                <c:pt idx="10">
                  <c:v>Confined Space</c:v>
                </c:pt>
                <c:pt idx="11">
                  <c:v>Ground Failure</c:v>
                </c:pt>
                <c:pt idx="12">
                  <c:v>Blasting (Surface)</c:v>
                </c:pt>
                <c:pt idx="13">
                  <c:v>Blasting (Underground)</c:v>
                </c:pt>
                <c:pt idx="14">
                  <c:v>Falling Objects</c:v>
                </c:pt>
                <c:pt idx="15">
                  <c:v>Interaction with Aircraft Unmanned</c:v>
                </c:pt>
                <c:pt idx="16">
                  <c:v>Underground Rock Fall</c:v>
                </c:pt>
                <c:pt idx="17">
                  <c:v>Haz Sub Chronic Silica &amp; Heavy Metals</c:v>
                </c:pt>
                <c:pt idx="18">
                  <c:v>Hazardous Substances Chronic General</c:v>
                </c:pt>
                <c:pt idx="19">
                  <c:v>Rail Impact on Person</c:v>
                </c:pt>
                <c:pt idx="20">
                  <c:v>Underground Inrush</c:v>
                </c:pt>
              </c:strCache>
            </c:strRef>
          </c:cat>
          <c:val>
            <c:numRef>
              <c:f>April!$B$4:$B$24</c:f>
              <c:numCache>
                <c:formatCode>General</c:formatCode>
                <c:ptCount val="21"/>
                <c:pt idx="1">
                  <c:v>2</c:v>
                </c:pt>
                <c:pt idx="2">
                  <c:v>8</c:v>
                </c:pt>
                <c:pt idx="3">
                  <c:v>11</c:v>
                </c:pt>
                <c:pt idx="4">
                  <c:v>5</c:v>
                </c:pt>
                <c:pt idx="5">
                  <c:v>11</c:v>
                </c:pt>
                <c:pt idx="6">
                  <c:v>11</c:v>
                </c:pt>
                <c:pt idx="7">
                  <c:v>9</c:v>
                </c:pt>
                <c:pt idx="8">
                  <c:v>16</c:v>
                </c:pt>
                <c:pt idx="9">
                  <c:v>10</c:v>
                </c:pt>
                <c:pt idx="10">
                  <c:v>6</c:v>
                </c:pt>
                <c:pt idx="11">
                  <c:v>5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2</c:v>
                </c:pt>
                <c:pt idx="16">
                  <c:v>2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82-440B-A507-5B0E646C49FD}"/>
            </c:ext>
          </c:extLst>
        </c:ser>
        <c:ser>
          <c:idx val="1"/>
          <c:order val="1"/>
          <c:tx>
            <c:strRef>
              <c:f>April!$C$3</c:f>
              <c:strCache>
                <c:ptCount val="1"/>
                <c:pt idx="0">
                  <c:v>Missing Control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April!$A$4:$A$24</c:f>
              <c:strCache>
                <c:ptCount val="21"/>
                <c:pt idx="0">
                  <c:v>Personnel Hoisting</c:v>
                </c:pt>
                <c:pt idx="1">
                  <c:v>Drowning</c:v>
                </c:pt>
                <c:pt idx="2">
                  <c:v>Entanglement and Crushing</c:v>
                </c:pt>
                <c:pt idx="3">
                  <c:v>Hazardous Substances Acute</c:v>
                </c:pt>
                <c:pt idx="4">
                  <c:v>Vehicle Collisions or Rollover</c:v>
                </c:pt>
                <c:pt idx="5">
                  <c:v>Exposure to Electrical Hazards</c:v>
                </c:pt>
                <c:pt idx="6">
                  <c:v>Vehicle Impact on Person</c:v>
                </c:pt>
                <c:pt idx="7">
                  <c:v>Fall from Heights</c:v>
                </c:pt>
                <c:pt idx="8">
                  <c:v>Lifting Operations</c:v>
                </c:pt>
                <c:pt idx="9">
                  <c:v>Uncontrolled Release of Energy Mapped</c:v>
                </c:pt>
                <c:pt idx="10">
                  <c:v>Confined Space</c:v>
                </c:pt>
                <c:pt idx="11">
                  <c:v>Ground Failure</c:v>
                </c:pt>
                <c:pt idx="12">
                  <c:v>Blasting (Surface)</c:v>
                </c:pt>
                <c:pt idx="13">
                  <c:v>Blasting (Underground)</c:v>
                </c:pt>
                <c:pt idx="14">
                  <c:v>Falling Objects</c:v>
                </c:pt>
                <c:pt idx="15">
                  <c:v>Interaction with Aircraft Unmanned</c:v>
                </c:pt>
                <c:pt idx="16">
                  <c:v>Underground Rock Fall</c:v>
                </c:pt>
                <c:pt idx="17">
                  <c:v>Haz Sub Chronic Silica &amp; Heavy Metals</c:v>
                </c:pt>
                <c:pt idx="18">
                  <c:v>Hazardous Substances Chronic General</c:v>
                </c:pt>
                <c:pt idx="19">
                  <c:v>Rail Impact on Person</c:v>
                </c:pt>
                <c:pt idx="20">
                  <c:v>Underground Inrush</c:v>
                </c:pt>
              </c:strCache>
            </c:strRef>
          </c:cat>
          <c:val>
            <c:numRef>
              <c:f>April!$C$4:$C$24</c:f>
              <c:numCache>
                <c:formatCode>General</c:formatCode>
                <c:ptCount val="21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3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82-440B-A507-5B0E646C49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88975807"/>
        <c:axId val="794231311"/>
      </c:barChart>
      <c:catAx>
        <c:axId val="78897580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4231311"/>
        <c:crosses val="autoZero"/>
        <c:auto val="1"/>
        <c:lblAlgn val="ctr"/>
        <c:lblOffset val="100"/>
        <c:noMultiLvlLbl val="0"/>
      </c:catAx>
      <c:valAx>
        <c:axId val="794231311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89758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6DA9916-5E6C-4D6D-A985-E6C00F0B5D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D703D9-AF9D-4CCE-8832-29F095A74F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4EC6DB-F2BE-47F2-B7BA-FCF00AF40D10}" type="datetimeFigureOut">
              <a:rPr lang="en-US" smtClean="0"/>
              <a:t>5/2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13A1AE-E7BA-40C7-9D4E-864A68F6FF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F437E5-CD84-4083-9937-5D84488B9D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4AEEB9-CDD2-4C24-96B2-19A44D5C36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0295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EED030-48CC-D340-A246-BA954A3A0B49}" type="datetimeFigureOut">
              <a:rPr lang="en-US" smtClean="0"/>
              <a:t>5/2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880130-CE8D-E640-9639-E0473270C6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994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5.jpe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emf"/><Relationship Id="rId5" Type="http://schemas.openxmlformats.org/officeDocument/2006/relationships/image" Target="../media/image4.emf"/><Relationship Id="rId10" Type="http://schemas.openxmlformats.org/officeDocument/2006/relationships/image" Target="../media/image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3.jpe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3.jpe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-up of several metal bars&#10;&#10;Description automatically generated">
            <a:extLst>
              <a:ext uri="{FF2B5EF4-FFF2-40B4-BE49-F238E27FC236}">
                <a16:creationId xmlns:a16="http://schemas.microsoft.com/office/drawing/2014/main" id="{FF0FCD6E-9151-9297-B55A-FE20EA2155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396" t="-46" r="20722" b="-2"/>
          <a:stretch/>
        </p:blipFill>
        <p:spPr>
          <a:xfrm>
            <a:off x="-15618" y="0"/>
            <a:ext cx="9159618" cy="685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9">
            <a:extLst>
              <a:ext uri="{FF2B5EF4-FFF2-40B4-BE49-F238E27FC236}">
                <a16:creationId xmlns:a16="http://schemas.microsoft.com/office/drawing/2014/main" id="{10968DDA-DBC8-6D65-A77F-9165359E39B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30467" y="6242743"/>
            <a:ext cx="1932807" cy="26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D6412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imaxMolybdenum.com</a:t>
            </a:r>
          </a:p>
        </p:txBody>
      </p:sp>
      <p:pic>
        <p:nvPicPr>
          <p:cNvPr id="11" name="Picture 20">
            <a:extLst>
              <a:ext uri="{FF2B5EF4-FFF2-40B4-BE49-F238E27FC236}">
                <a16:creationId xmlns:a16="http://schemas.microsoft.com/office/drawing/2014/main" id="{FAF20D87-9EFA-C8F8-134C-215ADD9A51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3604106" y="5873175"/>
            <a:ext cx="582674" cy="584602"/>
          </a:xfrm>
          <a:prstGeom prst="rect">
            <a:avLst/>
          </a:prstGeom>
          <a:noFill/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Graphic 29">
            <a:extLst>
              <a:ext uri="{FF2B5EF4-FFF2-40B4-BE49-F238E27FC236}">
                <a16:creationId xmlns:a16="http://schemas.microsoft.com/office/drawing/2014/main" id="{07373CB2-A4D4-F466-1A7E-6C01F8B2F7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4393476" y="6034841"/>
            <a:ext cx="1259660" cy="412780"/>
          </a:xfrm>
          <a:prstGeom prst="rect">
            <a:avLst/>
          </a:prstGeom>
          <a:noFill/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0865D398-ED61-5AA4-C194-7458C1C6092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50944" y="5986087"/>
            <a:ext cx="2833862" cy="500347"/>
          </a:xfrm>
          <a:prstGeom prst="rect">
            <a:avLst/>
          </a:prstGeom>
        </p:spPr>
      </p:pic>
      <p:pic>
        <p:nvPicPr>
          <p:cNvPr id="15" name="Picture 14" descr="A black sign with white text&#10;&#10;Description automatically generated">
            <a:extLst>
              <a:ext uri="{FF2B5EF4-FFF2-40B4-BE49-F238E27FC236}">
                <a16:creationId xmlns:a16="http://schemas.microsoft.com/office/drawing/2014/main" id="{E9786791-758F-F2DD-1C3A-621E069C3BE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859832" y="5873174"/>
            <a:ext cx="1067134" cy="583874"/>
          </a:xfrm>
          <a:prstGeom prst="rect">
            <a:avLst/>
          </a:prstGeom>
        </p:spPr>
      </p:pic>
      <p:pic>
        <p:nvPicPr>
          <p:cNvPr id="16" name="Picture 15" descr="A black and white logo&#10;&#10;Description automatically generated">
            <a:extLst>
              <a:ext uri="{FF2B5EF4-FFF2-40B4-BE49-F238E27FC236}">
                <a16:creationId xmlns:a16="http://schemas.microsoft.com/office/drawing/2014/main" id="{AF49A5D7-0733-B57F-868C-24406B817BA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66101" y="988611"/>
            <a:ext cx="4529315" cy="1752657"/>
          </a:xfrm>
          <a:prstGeom prst="rect">
            <a:avLst/>
          </a:prstGeom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3818B640-AA16-07B6-7B68-5697AFA5AF97}"/>
              </a:ext>
            </a:extLst>
          </p:cNvPr>
          <p:cNvSpPr txBox="1"/>
          <p:nvPr userDrawn="1"/>
        </p:nvSpPr>
        <p:spPr>
          <a:xfrm>
            <a:off x="5646398" y="6465717"/>
            <a:ext cx="13813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i="1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All Operating Sites</a:t>
            </a:r>
            <a:endParaRPr lang="en-US" sz="900" i="1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69626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arge header -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371" y="1864530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100">
                <a:solidFill>
                  <a:srgbClr val="45688B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371" y="2912882"/>
            <a:ext cx="7837325" cy="3071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CABDAB8-DFF4-6118-F138-A4EFE437B775}"/>
              </a:ext>
            </a:extLst>
          </p:cNvPr>
          <p:cNvSpPr>
            <a:spLocks/>
          </p:cNvSpPr>
          <p:nvPr userDrawn="1"/>
        </p:nvSpPr>
        <p:spPr>
          <a:xfrm rot="10800000" flipV="1">
            <a:off x="445912" y="2620750"/>
            <a:ext cx="8292734" cy="48714"/>
          </a:xfrm>
          <a:prstGeom prst="rect">
            <a:avLst/>
          </a:prstGeom>
          <a:gradFill flip="none" rotWithShape="1">
            <a:gsLst>
              <a:gs pos="40000">
                <a:srgbClr val="869FB5"/>
              </a:gs>
              <a:gs pos="0">
                <a:srgbClr val="45688B"/>
              </a:gs>
              <a:gs pos="99083">
                <a:srgbClr val="2E465E"/>
              </a:gs>
              <a:gs pos="67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E631910-4DDE-C48C-ED97-975C3AD61DDC}"/>
              </a:ext>
            </a:extLst>
          </p:cNvPr>
          <p:cNvGrpSpPr/>
          <p:nvPr userDrawn="1"/>
        </p:nvGrpSpPr>
        <p:grpSpPr>
          <a:xfrm>
            <a:off x="0" y="3797"/>
            <a:ext cx="9141618" cy="1621523"/>
            <a:chOff x="0" y="3797"/>
            <a:chExt cx="9141618" cy="1621523"/>
          </a:xfrm>
        </p:grpSpPr>
        <p:pic>
          <p:nvPicPr>
            <p:cNvPr id="14" name="Picture 13" descr="A close-up of several metal bars&#10;&#10;Description automatically generated">
              <a:extLst>
                <a:ext uri="{FF2B5EF4-FFF2-40B4-BE49-F238E27FC236}">
                  <a16:creationId xmlns:a16="http://schemas.microsoft.com/office/drawing/2014/main" id="{67D245A9-2E4B-6186-B15A-1A5ECCE4E7D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15063" t="6591" r="4949" b="69686"/>
            <a:stretch/>
          </p:blipFill>
          <p:spPr>
            <a:xfrm>
              <a:off x="0" y="3797"/>
              <a:ext cx="9141618" cy="1621523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" name="Picture 9" descr="A black background with white letters&#10;&#10;Description automatically generated">
              <a:extLst>
                <a:ext uri="{FF2B5EF4-FFF2-40B4-BE49-F238E27FC236}">
                  <a16:creationId xmlns:a16="http://schemas.microsoft.com/office/drawing/2014/main" id="{6398CDD8-F9AF-F7FF-75FC-C854FEB9A7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51389" y="925170"/>
              <a:ext cx="2375277" cy="419378"/>
            </a:xfrm>
            <a:prstGeom prst="rect">
              <a:avLst/>
            </a:prstGeom>
          </p:spPr>
        </p:pic>
        <p:pic>
          <p:nvPicPr>
            <p:cNvPr id="12" name="Picture 11" descr="A black and white logo&#10;&#10;Description automatically generated">
              <a:extLst>
                <a:ext uri="{FF2B5EF4-FFF2-40B4-BE49-F238E27FC236}">
                  <a16:creationId xmlns:a16="http://schemas.microsoft.com/office/drawing/2014/main" id="{E2A6C8BF-73B8-BD01-0911-6BA187A4668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345416" y="469455"/>
              <a:ext cx="2601664" cy="10067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2297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rge header -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371" y="1864530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100">
                <a:solidFill>
                  <a:srgbClr val="45688B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372" y="3048450"/>
            <a:ext cx="3879462" cy="3071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CABDAB8-DFF4-6118-F138-A4EFE437B775}"/>
              </a:ext>
            </a:extLst>
          </p:cNvPr>
          <p:cNvSpPr>
            <a:spLocks/>
          </p:cNvSpPr>
          <p:nvPr userDrawn="1"/>
        </p:nvSpPr>
        <p:spPr>
          <a:xfrm rot="10800000">
            <a:off x="445913" y="2669464"/>
            <a:ext cx="7837325" cy="46039"/>
          </a:xfrm>
          <a:prstGeom prst="rect">
            <a:avLst/>
          </a:prstGeom>
          <a:gradFill flip="none" rotWithShape="1">
            <a:gsLst>
              <a:gs pos="40000">
                <a:srgbClr val="869FB5"/>
              </a:gs>
              <a:gs pos="0">
                <a:srgbClr val="45688B"/>
              </a:gs>
              <a:gs pos="99083">
                <a:srgbClr val="2E465E"/>
              </a:gs>
              <a:gs pos="67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8DB311D-C789-65AC-EF8F-69823963392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824168" y="3043155"/>
            <a:ext cx="3879462" cy="3071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A close-up of several metal bars&#10;&#10;Description automatically generated">
            <a:extLst>
              <a:ext uri="{FF2B5EF4-FFF2-40B4-BE49-F238E27FC236}">
                <a16:creationId xmlns:a16="http://schemas.microsoft.com/office/drawing/2014/main" id="{9AA4FFA3-1D67-5659-6061-7CAEC107B1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5063" t="6591" r="4949" b="69686"/>
          <a:stretch/>
        </p:blipFill>
        <p:spPr>
          <a:xfrm>
            <a:off x="0" y="3797"/>
            <a:ext cx="9141618" cy="162152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0B7A3BAC-0099-4BB5-EE1D-765D4405B45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51389" y="925170"/>
            <a:ext cx="2375277" cy="419378"/>
          </a:xfrm>
          <a:prstGeom prst="rect">
            <a:avLst/>
          </a:prstGeom>
        </p:spPr>
      </p:pic>
      <p:pic>
        <p:nvPicPr>
          <p:cNvPr id="17" name="Picture 16" descr="A black and white logo&#10;&#10;Description automatically generated">
            <a:extLst>
              <a:ext uri="{FF2B5EF4-FFF2-40B4-BE49-F238E27FC236}">
                <a16:creationId xmlns:a16="http://schemas.microsoft.com/office/drawing/2014/main" id="{68D1D48B-0D42-9E6F-B0A7-2FFDB989B7D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45416" y="469455"/>
            <a:ext cx="2601664" cy="1006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604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6E4DF639-9346-9AC8-5586-B8920E74461D}"/>
              </a:ext>
            </a:extLst>
          </p:cNvPr>
          <p:cNvSpPr/>
          <p:nvPr userDrawn="1"/>
        </p:nvSpPr>
        <p:spPr>
          <a:xfrm>
            <a:off x="0" y="1272730"/>
            <a:ext cx="9144000" cy="1605564"/>
          </a:xfrm>
          <a:prstGeom prst="rect">
            <a:avLst/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+mj-lt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465" y="417149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320" y="1362492"/>
            <a:ext cx="4188587" cy="1258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2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0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90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825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C821558-15FD-4FA4-5419-7DF2F44759E8}"/>
              </a:ext>
            </a:extLst>
          </p:cNvPr>
          <p:cNvCxnSpPr>
            <a:cxnSpLocks/>
          </p:cNvCxnSpPr>
          <p:nvPr userDrawn="1"/>
        </p:nvCxnSpPr>
        <p:spPr>
          <a:xfrm>
            <a:off x="758901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670F1A7-9A8C-6B62-65DF-56D3BAB8AC59}"/>
              </a:ext>
            </a:extLst>
          </p:cNvPr>
          <p:cNvCxnSpPr>
            <a:cxnSpLocks/>
          </p:cNvCxnSpPr>
          <p:nvPr userDrawn="1"/>
        </p:nvCxnSpPr>
        <p:spPr>
          <a:xfrm flipH="1">
            <a:off x="2116827" y="3309168"/>
            <a:ext cx="4910346" cy="14028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BF20102-D0F0-E3BC-56BC-87082D79332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3359" y="6507850"/>
            <a:ext cx="5522983" cy="28906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825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*footnot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85CA40-9038-9F4E-8EA2-DFFDAA489F3F}"/>
              </a:ext>
            </a:extLst>
          </p:cNvPr>
          <p:cNvSpPr/>
          <p:nvPr userDrawn="1"/>
        </p:nvSpPr>
        <p:spPr>
          <a:xfrm>
            <a:off x="116983" y="5122546"/>
            <a:ext cx="1283835" cy="961292"/>
          </a:xfrm>
          <a:prstGeom prst="rect">
            <a:avLst/>
          </a:prstGeom>
          <a:solidFill>
            <a:srgbClr val="E7E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>
              <a:latin typeface="+mj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F187C7-770A-9CD6-3189-C8888E2CACAB}"/>
              </a:ext>
            </a:extLst>
          </p:cNvPr>
          <p:cNvSpPr/>
          <p:nvPr userDrawn="1"/>
        </p:nvSpPr>
        <p:spPr>
          <a:xfrm>
            <a:off x="3504604" y="2723651"/>
            <a:ext cx="2134792" cy="1185065"/>
          </a:xfrm>
          <a:prstGeom prst="rect">
            <a:avLst/>
          </a:prstGeom>
          <a:solidFill>
            <a:srgbClr val="2E4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>
              <a:latin typeface="+mj-l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35CE15C-B3DB-0437-FA6F-4C85CE7BD3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5116" y="2893000"/>
            <a:ext cx="1933769" cy="846367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6534642-FD7A-0B7A-C470-7F6E222A902B}"/>
              </a:ext>
            </a:extLst>
          </p:cNvPr>
          <p:cNvCxnSpPr>
            <a:cxnSpLocks/>
          </p:cNvCxnSpPr>
          <p:nvPr userDrawn="1"/>
        </p:nvCxnSpPr>
        <p:spPr>
          <a:xfrm>
            <a:off x="2115820" y="3319674"/>
            <a:ext cx="0" cy="1944745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7AD6926C-1404-7DC4-C566-1B99CDFE4449}"/>
              </a:ext>
            </a:extLst>
          </p:cNvPr>
          <p:cNvSpPr/>
          <p:nvPr userDrawn="1"/>
        </p:nvSpPr>
        <p:spPr>
          <a:xfrm>
            <a:off x="981611" y="3745988"/>
            <a:ext cx="2268416" cy="961292"/>
          </a:xfrm>
          <a:prstGeom prst="rect">
            <a:avLst/>
          </a:prstGeom>
          <a:solidFill>
            <a:srgbClr val="4568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9956CDB-6E00-6F08-168B-F6DCA5A8A3E6}"/>
              </a:ext>
            </a:extLst>
          </p:cNvPr>
          <p:cNvSpPr/>
          <p:nvPr userDrawn="1"/>
        </p:nvSpPr>
        <p:spPr>
          <a:xfrm>
            <a:off x="1473901" y="5122546"/>
            <a:ext cx="1283835" cy="961292"/>
          </a:xfrm>
          <a:prstGeom prst="rect">
            <a:avLst/>
          </a:prstGeom>
          <a:solidFill>
            <a:srgbClr val="E7E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>
              <a:latin typeface="+mj-lt"/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F3E7E51-BE08-AADC-4822-5CB444E1DD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100739" y="3799356"/>
            <a:ext cx="203016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84EC982-1107-A78F-8D86-C9507AF9A7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0599" y="5196483"/>
            <a:ext cx="1156606" cy="813418"/>
          </a:xfrm>
          <a:prstGeom prst="rect">
            <a:avLst/>
          </a:prstGeom>
          <a:solidFill>
            <a:srgbClr val="E7ECF0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D5915C6-21BB-C504-054C-CF0CFD786D3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19726" y="5196483"/>
            <a:ext cx="1156606" cy="813418"/>
          </a:xfrm>
          <a:prstGeom prst="rect">
            <a:avLst/>
          </a:prstGeom>
          <a:solidFill>
            <a:srgbClr val="E7ECF0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E3760F9-96EC-42BE-A707-74DA4B1BA13B}"/>
              </a:ext>
            </a:extLst>
          </p:cNvPr>
          <p:cNvCxnSpPr>
            <a:cxnSpLocks/>
          </p:cNvCxnSpPr>
          <p:nvPr userDrawn="1"/>
        </p:nvCxnSpPr>
        <p:spPr>
          <a:xfrm flipH="1">
            <a:off x="758901" y="4960414"/>
            <a:ext cx="2708348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DAC60B0-9F47-F52B-F52E-66BE64910B2A}"/>
              </a:ext>
            </a:extLst>
          </p:cNvPr>
          <p:cNvCxnSpPr>
            <a:cxnSpLocks/>
          </p:cNvCxnSpPr>
          <p:nvPr userDrawn="1"/>
        </p:nvCxnSpPr>
        <p:spPr>
          <a:xfrm>
            <a:off x="3467248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626C804-0F84-D9FE-8B7E-01577F486857}"/>
              </a:ext>
            </a:extLst>
          </p:cNvPr>
          <p:cNvSpPr/>
          <p:nvPr userDrawn="1"/>
        </p:nvSpPr>
        <p:spPr>
          <a:xfrm>
            <a:off x="2825331" y="5122546"/>
            <a:ext cx="1283835" cy="961292"/>
          </a:xfrm>
          <a:prstGeom prst="rect">
            <a:avLst/>
          </a:prstGeom>
          <a:solidFill>
            <a:srgbClr val="E7E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>
              <a:latin typeface="+mj-lt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ECEB8B21-BFF2-F3F8-56CE-6379E91F9A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88946" y="5196483"/>
            <a:ext cx="1156606" cy="813418"/>
          </a:xfrm>
          <a:prstGeom prst="rect">
            <a:avLst/>
          </a:prstGeom>
          <a:solidFill>
            <a:srgbClr val="E7ECF0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D6A4E82-26BE-B07E-A1D4-A3968F3CAA9C}"/>
              </a:ext>
            </a:extLst>
          </p:cNvPr>
          <p:cNvCxnSpPr>
            <a:cxnSpLocks/>
          </p:cNvCxnSpPr>
          <p:nvPr userDrawn="1"/>
        </p:nvCxnSpPr>
        <p:spPr>
          <a:xfrm>
            <a:off x="5664426" y="4949116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CB98291C-CC22-7BA1-6161-5473BCEA842D}"/>
              </a:ext>
            </a:extLst>
          </p:cNvPr>
          <p:cNvSpPr/>
          <p:nvPr userDrawn="1"/>
        </p:nvSpPr>
        <p:spPr>
          <a:xfrm>
            <a:off x="5022508" y="5123382"/>
            <a:ext cx="1283835" cy="961292"/>
          </a:xfrm>
          <a:prstGeom prst="rect">
            <a:avLst/>
          </a:prstGeom>
          <a:solidFill>
            <a:srgbClr val="E7E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>
              <a:latin typeface="+mj-lt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2581B9F-0FD8-F84E-2EF6-334A56CF16E1}"/>
              </a:ext>
            </a:extLst>
          </p:cNvPr>
          <p:cNvCxnSpPr>
            <a:cxnSpLocks/>
          </p:cNvCxnSpPr>
          <p:nvPr userDrawn="1"/>
        </p:nvCxnSpPr>
        <p:spPr>
          <a:xfrm>
            <a:off x="7018988" y="3320510"/>
            <a:ext cx="0" cy="1944745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893E619B-4460-1B17-C65A-0F9374039806}"/>
              </a:ext>
            </a:extLst>
          </p:cNvPr>
          <p:cNvSpPr/>
          <p:nvPr userDrawn="1"/>
        </p:nvSpPr>
        <p:spPr>
          <a:xfrm>
            <a:off x="5887136" y="3746824"/>
            <a:ext cx="2268416" cy="961292"/>
          </a:xfrm>
          <a:prstGeom prst="rect">
            <a:avLst/>
          </a:prstGeom>
          <a:solidFill>
            <a:srgbClr val="4568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>
              <a:latin typeface="+mj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12244E2-1446-C44D-64CC-44BA780136EE}"/>
              </a:ext>
            </a:extLst>
          </p:cNvPr>
          <p:cNvSpPr/>
          <p:nvPr userDrawn="1"/>
        </p:nvSpPr>
        <p:spPr>
          <a:xfrm>
            <a:off x="6386497" y="5123382"/>
            <a:ext cx="1283835" cy="961292"/>
          </a:xfrm>
          <a:prstGeom prst="rect">
            <a:avLst/>
          </a:prstGeom>
          <a:solidFill>
            <a:srgbClr val="E7E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>
              <a:latin typeface="+mj-lt"/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1E902119-526E-11E2-2BB4-05838377C2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06264" y="3800192"/>
            <a:ext cx="203016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B88D6BF-3AA5-B3D6-4361-F0180CEF400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86124" y="5197319"/>
            <a:ext cx="1156606" cy="813418"/>
          </a:xfrm>
          <a:prstGeom prst="rect">
            <a:avLst/>
          </a:prstGeom>
          <a:solidFill>
            <a:srgbClr val="E7ECF0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2DA6A443-80F8-BDFE-F488-C8764E6284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32321" y="5197319"/>
            <a:ext cx="1156606" cy="813418"/>
          </a:xfrm>
          <a:prstGeom prst="rect">
            <a:avLst/>
          </a:prstGeom>
          <a:solidFill>
            <a:srgbClr val="E7ECF0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380C29C-01A5-F2AA-3528-E3D1FA463438}"/>
              </a:ext>
            </a:extLst>
          </p:cNvPr>
          <p:cNvCxnSpPr>
            <a:cxnSpLocks/>
          </p:cNvCxnSpPr>
          <p:nvPr userDrawn="1"/>
        </p:nvCxnSpPr>
        <p:spPr>
          <a:xfrm flipH="1">
            <a:off x="5664426" y="4961250"/>
            <a:ext cx="2708348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098F304-2966-9B2C-D0C5-066D69773039}"/>
              </a:ext>
            </a:extLst>
          </p:cNvPr>
          <p:cNvCxnSpPr>
            <a:cxnSpLocks/>
          </p:cNvCxnSpPr>
          <p:nvPr userDrawn="1"/>
        </p:nvCxnSpPr>
        <p:spPr>
          <a:xfrm>
            <a:off x="8372773" y="4949116"/>
            <a:ext cx="0" cy="422796"/>
          </a:xfrm>
          <a:prstGeom prst="line">
            <a:avLst/>
          </a:prstGeom>
          <a:ln w="19050">
            <a:solidFill>
              <a:srgbClr val="3954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C0FDE88-08F2-1384-9B9A-752E8DC273C9}"/>
              </a:ext>
            </a:extLst>
          </p:cNvPr>
          <p:cNvSpPr/>
          <p:nvPr userDrawn="1"/>
        </p:nvSpPr>
        <p:spPr>
          <a:xfrm>
            <a:off x="7730856" y="5123382"/>
            <a:ext cx="1283835" cy="961292"/>
          </a:xfrm>
          <a:prstGeom prst="rect">
            <a:avLst/>
          </a:prstGeom>
          <a:solidFill>
            <a:srgbClr val="E7E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>
              <a:latin typeface="+mj-lt"/>
            </a:endParaRP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34E741C-9DF0-0FEE-3BD0-AE4D21466A0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94471" y="5197319"/>
            <a:ext cx="1144303" cy="813418"/>
          </a:xfrm>
          <a:prstGeom prst="rect">
            <a:avLst/>
          </a:prstGeom>
          <a:solidFill>
            <a:srgbClr val="E7ECF0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46B3DF0-438B-0620-A62E-F05AB3AEB5C3}"/>
              </a:ext>
            </a:extLst>
          </p:cNvPr>
          <p:cNvSpPr>
            <a:spLocks noGrp="1"/>
          </p:cNvSpPr>
          <p:nvPr>
            <p:ph idx="29"/>
          </p:nvPr>
        </p:nvSpPr>
        <p:spPr>
          <a:xfrm>
            <a:off x="4621095" y="1362492"/>
            <a:ext cx="4416790" cy="1258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2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0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90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825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2218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6E4DF639-9346-9AC8-5586-B8920E74461D}"/>
              </a:ext>
            </a:extLst>
          </p:cNvPr>
          <p:cNvSpPr/>
          <p:nvPr userDrawn="1"/>
        </p:nvSpPr>
        <p:spPr>
          <a:xfrm>
            <a:off x="0" y="1197204"/>
            <a:ext cx="9144000" cy="1150070"/>
          </a:xfrm>
          <a:prstGeom prst="rect">
            <a:avLst/>
          </a:prstGeom>
          <a:solidFill>
            <a:srgbClr val="869FB5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+mj-lt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319" y="304025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320" y="2453643"/>
            <a:ext cx="4188587" cy="2995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5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3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20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05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BF20102-D0F0-E3BC-56BC-87082D79332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3359" y="6507850"/>
            <a:ext cx="5522983" cy="28906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825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*footnot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46B3DF0-438B-0620-A62E-F05AB3AEB5C3}"/>
              </a:ext>
            </a:extLst>
          </p:cNvPr>
          <p:cNvSpPr>
            <a:spLocks noGrp="1"/>
          </p:cNvSpPr>
          <p:nvPr>
            <p:ph idx="29"/>
          </p:nvPr>
        </p:nvSpPr>
        <p:spPr>
          <a:xfrm>
            <a:off x="4621095" y="2453643"/>
            <a:ext cx="4416790" cy="2995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5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3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20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05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301330D-DE87-12B9-8A22-DF3FBED01A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4320" y="1557559"/>
            <a:ext cx="5522983" cy="5048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rgbClr val="45688B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15231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1DAB44-3933-4383-A7E8-C2260715D422}"/>
              </a:ext>
            </a:extLst>
          </p:cNvPr>
          <p:cNvSpPr/>
          <p:nvPr userDrawn="1"/>
        </p:nvSpPr>
        <p:spPr>
          <a:xfrm>
            <a:off x="0" y="-41565"/>
            <a:ext cx="8930666" cy="6903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B74A30A-ED28-C5D9-80DB-D1831070D7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6730" r="6836"/>
          <a:stretch/>
        </p:blipFill>
        <p:spPr>
          <a:xfrm rot="5400000">
            <a:off x="5119004" y="2838210"/>
            <a:ext cx="6924033" cy="1132168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C39D67-BBE6-4ABD-AC6C-64B022DEB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36085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C39D67-BBE6-4ABD-AC6C-64B022DEB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0048B-215C-2742-B3BD-2C887A2EE1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474922" y="217232"/>
            <a:ext cx="6259953" cy="6254342"/>
          </a:xfrm>
          <a:prstGeom prst="rect">
            <a:avLst/>
          </a:prstGeom>
        </p:spPr>
        <p:txBody>
          <a:bodyPr vert="eaVert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471488" indent="-257175">
              <a:buClr>
                <a:srgbClr val="005DAB"/>
              </a:buClr>
              <a:defRPr lang="en-US" sz="16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603647" indent="-257175">
              <a:buClr>
                <a:srgbClr val="005DAB"/>
              </a:buClr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73906" indent="-257175">
              <a:buClr>
                <a:srgbClr val="005DAB"/>
              </a:buClr>
              <a:defRPr lang="en-US" sz="13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>
              <a:buClr>
                <a:srgbClr val="005DAB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56771AEE-C76D-499A-99C6-64134E39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6259612" y="2050546"/>
            <a:ext cx="4487159" cy="668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888420E-A35D-2CFE-2B8E-3923F03E2346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214976" y="6636022"/>
            <a:ext cx="598419" cy="26952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545FE2-DEF4-4BC2-9058-BF1DA4AEB4E3}" type="slidenum">
              <a:rPr lang="en-US" sz="750" smtClean="0"/>
              <a:pPr/>
              <a:t>‹#›</a:t>
            </a:fld>
            <a:endParaRPr lang="en-US" sz="750"/>
          </a:p>
        </p:txBody>
      </p:sp>
      <p:pic>
        <p:nvPicPr>
          <p:cNvPr id="7" name="Picture 6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D600F9BB-A801-A089-C12E-C0C8B9496BF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5400000">
            <a:off x="8105759" y="4297873"/>
            <a:ext cx="1690030" cy="298391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093BA9BF-0FEA-A45E-22FA-C6021B4DEDC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7876160" y="5942747"/>
            <a:ext cx="1265458" cy="489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071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ppendi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 descr="Text&#10;&#10;Description automatically generated with medium confidence">
            <a:extLst>
              <a:ext uri="{FF2B5EF4-FFF2-40B4-BE49-F238E27FC236}">
                <a16:creationId xmlns:a16="http://schemas.microsoft.com/office/drawing/2014/main" id="{0D2C76B0-8A4A-4935-AB9E-8457605F32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4909" y="5790141"/>
            <a:ext cx="2252725" cy="844772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5189D5A3-AE35-40D8-AF42-34B1E9466F99}"/>
              </a:ext>
            </a:extLst>
          </p:cNvPr>
          <p:cNvGrpSpPr/>
          <p:nvPr userDrawn="1"/>
        </p:nvGrpSpPr>
        <p:grpSpPr>
          <a:xfrm>
            <a:off x="-8383" y="0"/>
            <a:ext cx="9152383" cy="6858000"/>
            <a:chOff x="-8383" y="0"/>
            <a:chExt cx="9152383" cy="6858000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3DA4D8A-1C1C-4C01-B4D7-4BAD698EFC34}"/>
                </a:ext>
              </a:extLst>
            </p:cNvPr>
            <p:cNvSpPr/>
            <p:nvPr userDrawn="1"/>
          </p:nvSpPr>
          <p:spPr>
            <a:xfrm>
              <a:off x="175491" y="0"/>
              <a:ext cx="8968509" cy="131329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Picture 30" descr="A close up of a wood surface&#10;&#10;Description automatically generated with low confidence">
              <a:extLst>
                <a:ext uri="{FF2B5EF4-FFF2-40B4-BE49-F238E27FC236}">
                  <a16:creationId xmlns:a16="http://schemas.microsoft.com/office/drawing/2014/main" id="{E01C4E6A-F310-4FC1-A6D7-38964810DF3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55" t="1225" r="22187" b="52375"/>
            <a:stretch/>
          </p:blipFill>
          <p:spPr>
            <a:xfrm rot="10800000" flipH="1">
              <a:off x="-8383" y="0"/>
              <a:ext cx="626320" cy="6858000"/>
            </a:xfrm>
            <a:prstGeom prst="rect">
              <a:avLst/>
            </a:prstGeom>
          </p:spPr>
        </p:pic>
        <p:pic>
          <p:nvPicPr>
            <p:cNvPr id="32" name="Picture 31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70DDEB28-0E8D-469A-B4CF-4653C995EC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t="6973" b="4485"/>
            <a:stretch/>
          </p:blipFill>
          <p:spPr>
            <a:xfrm>
              <a:off x="810346" y="1914950"/>
              <a:ext cx="3274142" cy="1218634"/>
            </a:xfrm>
            <a:prstGeom prst="rect">
              <a:avLst/>
            </a:prstGeom>
          </p:spPr>
        </p:pic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8838BAD-8AB4-4A8A-9379-E9F8F6327820}"/>
              </a:ext>
            </a:extLst>
          </p:cNvPr>
          <p:cNvCxnSpPr>
            <a:cxnSpLocks/>
          </p:cNvCxnSpPr>
          <p:nvPr userDrawn="1"/>
        </p:nvCxnSpPr>
        <p:spPr>
          <a:xfrm>
            <a:off x="4276894" y="1440589"/>
            <a:ext cx="0" cy="2167357"/>
          </a:xfrm>
          <a:prstGeom prst="line">
            <a:avLst/>
          </a:prstGeom>
          <a:ln>
            <a:solidFill>
              <a:srgbClr val="3676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itle 1">
            <a:extLst>
              <a:ext uri="{FF2B5EF4-FFF2-40B4-BE49-F238E27FC236}">
                <a16:creationId xmlns:a16="http://schemas.microsoft.com/office/drawing/2014/main" id="{4FDD1E2D-BB2B-4239-A4C5-B675E66B42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16585" y="1440589"/>
            <a:ext cx="4368799" cy="2167357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000" b="1" i="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Appendix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F6F1A4D-4E58-4865-AF8D-418B2FE3EA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9752" y="6577563"/>
            <a:ext cx="824248" cy="280436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122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several metal bars&#10;&#10;Description automatically generated">
            <a:extLst>
              <a:ext uri="{FF2B5EF4-FFF2-40B4-BE49-F238E27FC236}">
                <a16:creationId xmlns:a16="http://schemas.microsoft.com/office/drawing/2014/main" id="{398F7C34-59B2-5398-EFED-01914810FB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883" t="12495" r="16303" b="22253"/>
          <a:stretch/>
        </p:blipFill>
        <p:spPr>
          <a:xfrm>
            <a:off x="-6191" y="0"/>
            <a:ext cx="9150191" cy="4093986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19">
            <a:extLst>
              <a:ext uri="{FF2B5EF4-FFF2-40B4-BE49-F238E27FC236}">
                <a16:creationId xmlns:a16="http://schemas.microsoft.com/office/drawing/2014/main" id="{B332FC75-8C9E-45F4-879D-39F6AAC1E6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0861" y="4361827"/>
            <a:ext cx="246327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D6412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000">
                <a:solidFill>
                  <a:srgbClr val="5E5E5E"/>
                </a:solidFill>
              </a:rPr>
              <a:t>ClimaxMolybdenum.com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23BE7A0-4F49-FE60-B13A-A8BE27BD716B}"/>
              </a:ext>
            </a:extLst>
          </p:cNvPr>
          <p:cNvSpPr/>
          <p:nvPr userDrawn="1"/>
        </p:nvSpPr>
        <p:spPr>
          <a:xfrm>
            <a:off x="6477132" y="3683728"/>
            <a:ext cx="2463271" cy="6111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633193A8-9581-19DB-8540-F4B06DFBA35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79537" y="1199584"/>
            <a:ext cx="4529315" cy="1752657"/>
          </a:xfrm>
          <a:prstGeom prst="rect">
            <a:avLst/>
          </a:prstGeom>
        </p:spPr>
      </p:pic>
      <p:pic>
        <p:nvPicPr>
          <p:cNvPr id="15" name="Picture 14" descr="A blue and black logo&#10;&#10;Description automatically generated">
            <a:extLst>
              <a:ext uri="{FF2B5EF4-FFF2-40B4-BE49-F238E27FC236}">
                <a16:creationId xmlns:a16="http://schemas.microsoft.com/office/drawing/2014/main" id="{795354F0-40B9-5BBD-1E99-8AF82B48447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539534" y="3740862"/>
            <a:ext cx="2280667" cy="563831"/>
          </a:xfrm>
          <a:prstGeom prst="rect">
            <a:avLst/>
          </a:prstGeom>
        </p:spPr>
      </p:pic>
      <p:pic>
        <p:nvPicPr>
          <p:cNvPr id="2" name="Picture 8" descr="Shape&#10;&#10;Description automatically generated with low confidence">
            <a:extLst>
              <a:ext uri="{FF2B5EF4-FFF2-40B4-BE49-F238E27FC236}">
                <a16:creationId xmlns:a16="http://schemas.microsoft.com/office/drawing/2014/main" id="{B1927388-C2D5-D7BB-EF14-C8167A0FB8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9534" y="5902188"/>
            <a:ext cx="436706" cy="439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9">
            <a:extLst>
              <a:ext uri="{FF2B5EF4-FFF2-40B4-BE49-F238E27FC236}">
                <a16:creationId xmlns:a16="http://schemas.microsoft.com/office/drawing/2014/main" id="{25F530B7-FD48-73A4-5D04-B57529A9EC0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145926" y="5998168"/>
            <a:ext cx="895174" cy="293443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C95FA07-7AC1-63DF-1AC2-35BE411949DB}"/>
              </a:ext>
            </a:extLst>
          </p:cNvPr>
          <p:cNvCxnSpPr>
            <a:cxnSpLocks/>
          </p:cNvCxnSpPr>
          <p:nvPr userDrawn="1"/>
        </p:nvCxnSpPr>
        <p:spPr>
          <a:xfrm>
            <a:off x="6470861" y="5775467"/>
            <a:ext cx="2481558" cy="0"/>
          </a:xfrm>
          <a:prstGeom prst="line">
            <a:avLst/>
          </a:prstGeom>
          <a:ln w="15875">
            <a:solidFill>
              <a:srgbClr val="005D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white rectangular sign with black text&#10;&#10;Description automatically generated">
            <a:extLst>
              <a:ext uri="{FF2B5EF4-FFF2-40B4-BE49-F238E27FC236}">
                <a16:creationId xmlns:a16="http://schemas.microsoft.com/office/drawing/2014/main" id="{646B1AF7-6731-EC17-F373-3A30B56ECB7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173039" y="5921086"/>
            <a:ext cx="810162" cy="442672"/>
          </a:xfrm>
          <a:prstGeom prst="rect">
            <a:avLst/>
          </a:prstGeom>
        </p:spPr>
      </p:pic>
      <p:sp>
        <p:nvSpPr>
          <p:cNvPr id="4" name="TextBox 2">
            <a:extLst>
              <a:ext uri="{FF2B5EF4-FFF2-40B4-BE49-F238E27FC236}">
                <a16:creationId xmlns:a16="http://schemas.microsoft.com/office/drawing/2014/main" id="{B2CB4082-4C53-AE35-46AE-A208E14D07E6}"/>
              </a:ext>
            </a:extLst>
          </p:cNvPr>
          <p:cNvSpPr txBox="1"/>
          <p:nvPr userDrawn="1"/>
        </p:nvSpPr>
        <p:spPr>
          <a:xfrm>
            <a:off x="7877181" y="6352703"/>
            <a:ext cx="13813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i="1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All Operating Sites</a:t>
            </a:r>
            <a:endParaRPr lang="en-US" sz="900" i="1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83359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ppendi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several metal bars&#10;&#10;Description automatically generated">
            <a:extLst>
              <a:ext uri="{FF2B5EF4-FFF2-40B4-BE49-F238E27FC236}">
                <a16:creationId xmlns:a16="http://schemas.microsoft.com/office/drawing/2014/main" id="{85818DAE-F173-6A02-5C2D-15422D5E97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13704" t="73" r="95214" b="852"/>
          <a:stretch/>
        </p:blipFill>
        <p:spPr>
          <a:xfrm>
            <a:off x="-1678028" y="46234"/>
            <a:ext cx="2259597" cy="6811766"/>
          </a:xfrm>
          <a:prstGeom prst="rect">
            <a:avLst/>
          </a:prstGeom>
        </p:spPr>
      </p:pic>
      <p:pic>
        <p:nvPicPr>
          <p:cNvPr id="6" name="Picture 5" descr="A close-up of several metal bars&#10;&#10;Description automatically generated">
            <a:extLst>
              <a:ext uri="{FF2B5EF4-FFF2-40B4-BE49-F238E27FC236}">
                <a16:creationId xmlns:a16="http://schemas.microsoft.com/office/drawing/2014/main" id="{ABB98FE2-8C45-F822-2EEB-97CF29D47D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5852" t="73" r="30977" b="852"/>
          <a:stretch/>
        </p:blipFill>
        <p:spPr>
          <a:xfrm>
            <a:off x="-6191" y="0"/>
            <a:ext cx="9150191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DE4059FD-FABF-985C-1EFD-8E12B0A25D6C}"/>
              </a:ext>
            </a:extLst>
          </p:cNvPr>
          <p:cNvSpPr txBox="1">
            <a:spLocks/>
          </p:cNvSpPr>
          <p:nvPr userDrawn="1"/>
        </p:nvSpPr>
        <p:spPr>
          <a:xfrm>
            <a:off x="8864707" y="6591102"/>
            <a:ext cx="448814" cy="3593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545FE2-DEF4-4BC2-9058-BF1DA4AEB4E3}" type="slidenum">
              <a:rPr lang="en-US" sz="750" smtClean="0"/>
              <a:pPr/>
              <a:t>‹#›</a:t>
            </a:fld>
            <a:endParaRPr lang="en-US" sz="750"/>
          </a:p>
        </p:txBody>
      </p:sp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73C57629-A0D9-4379-2614-751A21521FB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31528" y="1189655"/>
            <a:ext cx="3746783" cy="144985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CF53F87-37AA-AD86-C495-DD48BED75638}"/>
              </a:ext>
            </a:extLst>
          </p:cNvPr>
          <p:cNvSpPr/>
          <p:nvPr userDrawn="1"/>
        </p:nvSpPr>
        <p:spPr>
          <a:xfrm>
            <a:off x="529829" y="-14288"/>
            <a:ext cx="3664165" cy="68770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447447-78DC-F23E-0FCE-D6184398FC21}"/>
              </a:ext>
            </a:extLst>
          </p:cNvPr>
          <p:cNvSpPr>
            <a:spLocks/>
          </p:cNvSpPr>
          <p:nvPr userDrawn="1"/>
        </p:nvSpPr>
        <p:spPr>
          <a:xfrm rot="5400000" flipV="1">
            <a:off x="781296" y="3412820"/>
            <a:ext cx="6840565" cy="59323"/>
          </a:xfrm>
          <a:prstGeom prst="rect">
            <a:avLst/>
          </a:prstGeom>
          <a:gradFill flip="none" rotWithShape="1">
            <a:gsLst>
              <a:gs pos="40000">
                <a:srgbClr val="869FB5"/>
              </a:gs>
              <a:gs pos="0">
                <a:srgbClr val="45688B"/>
              </a:gs>
              <a:gs pos="99083">
                <a:srgbClr val="2E465E"/>
              </a:gs>
              <a:gs pos="67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CF8E533-867F-52B7-0FEE-86FA4FF30461}"/>
              </a:ext>
            </a:extLst>
          </p:cNvPr>
          <p:cNvSpPr>
            <a:spLocks/>
          </p:cNvSpPr>
          <p:nvPr userDrawn="1"/>
        </p:nvSpPr>
        <p:spPr>
          <a:xfrm rot="5400000" flipV="1">
            <a:off x="-2881412" y="3397283"/>
            <a:ext cx="6877051" cy="69738"/>
          </a:xfrm>
          <a:prstGeom prst="rect">
            <a:avLst/>
          </a:prstGeom>
          <a:gradFill flip="none" rotWithShape="1">
            <a:gsLst>
              <a:gs pos="40000">
                <a:srgbClr val="869FB5"/>
              </a:gs>
              <a:gs pos="0">
                <a:srgbClr val="45688B"/>
              </a:gs>
              <a:gs pos="99083">
                <a:srgbClr val="2E465E"/>
              </a:gs>
              <a:gs pos="67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9" name="Picture 8" descr="A blue and black logo&#10;&#10;Description automatically generated">
            <a:extLst>
              <a:ext uri="{FF2B5EF4-FFF2-40B4-BE49-F238E27FC236}">
                <a16:creationId xmlns:a16="http://schemas.microsoft.com/office/drawing/2014/main" id="{3368DAA1-C8D7-7332-E49D-3D0B04D3BA4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65947" y="5943488"/>
            <a:ext cx="2637913" cy="652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077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319" y="436003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60" y="1519519"/>
            <a:ext cx="7929237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987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372" y="438866"/>
            <a:ext cx="6478254" cy="311849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60" y="1519519"/>
            <a:ext cx="7929237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D40693-0A03-1354-D63D-FF9177EF84C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40374" y="750715"/>
            <a:ext cx="6478252" cy="3118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350" i="1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81273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49" y="417146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</p:spTree>
    <p:extLst>
      <p:ext uri="{BB962C8B-B14F-4D97-AF65-F5344CB8AC3E}">
        <p14:creationId xmlns:p14="http://schemas.microsoft.com/office/powerpoint/2010/main" val="15837003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white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6908724-14E5-D95A-5C0D-284485C36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894"/>
          <a:stretch/>
        </p:blipFill>
        <p:spPr>
          <a:xfrm>
            <a:off x="-1" y="-9427"/>
            <a:ext cx="9144001" cy="124540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443" y="1519519"/>
            <a:ext cx="8187510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close up of a blue and black background&#10;&#10;Description automatically generated">
            <a:extLst>
              <a:ext uri="{FF2B5EF4-FFF2-40B4-BE49-F238E27FC236}">
                <a16:creationId xmlns:a16="http://schemas.microsoft.com/office/drawing/2014/main" id="{A7785B8F-E69F-3E87-893C-C30F551FEFA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82" y="-9427"/>
            <a:ext cx="750094" cy="1038225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373" y="530268"/>
            <a:ext cx="6584307" cy="381498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29FCF83F-B782-0E6A-1686-0705CAEC030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86021" y="-39253"/>
            <a:ext cx="1655759" cy="409340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A7773481-FE5B-C55B-4845-F538B9CC919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781890" y="490209"/>
            <a:ext cx="1265458" cy="489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377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 Title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6908724-14E5-D95A-5C0D-284485C36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894"/>
          <a:stretch/>
        </p:blipFill>
        <p:spPr>
          <a:xfrm>
            <a:off x="-1" y="-9427"/>
            <a:ext cx="9144001" cy="124540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443" y="1519519"/>
            <a:ext cx="8253497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A close up of a blue and black background&#10;&#10;Description automatically generated">
            <a:extLst>
              <a:ext uri="{FF2B5EF4-FFF2-40B4-BE49-F238E27FC236}">
                <a16:creationId xmlns:a16="http://schemas.microsoft.com/office/drawing/2014/main" id="{A7785B8F-E69F-3E87-893C-C30F551FEFA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82" y="-9427"/>
            <a:ext cx="750094" cy="1038225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373" y="379438"/>
            <a:ext cx="6584307" cy="381498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08A13F1-DDBA-0238-F2E3-B49A06E152B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40374" y="750715"/>
            <a:ext cx="6584306" cy="3118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350" i="1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 descr="A blue and black logo&#10;&#10;Description automatically generated">
            <a:extLst>
              <a:ext uri="{FF2B5EF4-FFF2-40B4-BE49-F238E27FC236}">
                <a16:creationId xmlns:a16="http://schemas.microsoft.com/office/drawing/2014/main" id="{C4C08978-886F-E8E5-73B0-EA408FA883F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86021" y="-39253"/>
            <a:ext cx="1655759" cy="409340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58358372-70ED-0FE6-CB17-90ECC57EF4D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781890" y="490209"/>
            <a:ext cx="1265458" cy="489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71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109" y="427192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32116" y="2971246"/>
            <a:ext cx="2359394" cy="1535996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2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0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90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825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AACDD39-4423-42DC-1617-E392617E019C}"/>
              </a:ext>
            </a:extLst>
          </p:cNvPr>
          <p:cNvSpPr/>
          <p:nvPr userDrawn="1"/>
        </p:nvSpPr>
        <p:spPr>
          <a:xfrm>
            <a:off x="2382" y="1177710"/>
            <a:ext cx="9141618" cy="15151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5903C8-A57F-CB57-B8BE-2F90028155F4}"/>
              </a:ext>
            </a:extLst>
          </p:cNvPr>
          <p:cNvSpPr/>
          <p:nvPr userDrawn="1"/>
        </p:nvSpPr>
        <p:spPr>
          <a:xfrm>
            <a:off x="91296" y="4930439"/>
            <a:ext cx="279365" cy="1231804"/>
          </a:xfrm>
          <a:prstGeom prst="rect">
            <a:avLst/>
          </a:prstGeom>
          <a:gradFill>
            <a:gsLst>
              <a:gs pos="25000">
                <a:srgbClr val="FEC745"/>
              </a:gs>
              <a:gs pos="0">
                <a:srgbClr val="E18332"/>
              </a:gs>
              <a:gs pos="100000">
                <a:srgbClr val="9B532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A643AF4-C92E-B365-53BB-777D9E842197}"/>
              </a:ext>
            </a:extLst>
          </p:cNvPr>
          <p:cNvSpPr/>
          <p:nvPr userDrawn="1"/>
        </p:nvSpPr>
        <p:spPr>
          <a:xfrm>
            <a:off x="807420" y="4964036"/>
            <a:ext cx="290717" cy="1206610"/>
          </a:xfrm>
          <a:prstGeom prst="rect">
            <a:avLst/>
          </a:prstGeom>
          <a:gradFill>
            <a:gsLst>
              <a:gs pos="71000">
                <a:srgbClr val="A06146"/>
              </a:gs>
              <a:gs pos="46000">
                <a:srgbClr val="DA9E7F"/>
              </a:gs>
              <a:gs pos="25000">
                <a:srgbClr val="F9C397"/>
              </a:gs>
              <a:gs pos="0">
                <a:srgbClr val="F2D3AE"/>
              </a:gs>
              <a:gs pos="100000">
                <a:srgbClr val="843C2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86730-7A65-D011-07F0-D60FEDB8668B}"/>
              </a:ext>
            </a:extLst>
          </p:cNvPr>
          <p:cNvSpPr txBox="1"/>
          <p:nvPr userDrawn="1"/>
        </p:nvSpPr>
        <p:spPr>
          <a:xfrm>
            <a:off x="139003" y="4628345"/>
            <a:ext cx="2349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Additional color selec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525E7F-DE77-1C75-46B8-E82E9DAB8DAF}"/>
              </a:ext>
            </a:extLst>
          </p:cNvPr>
          <p:cNvSpPr/>
          <p:nvPr userDrawn="1"/>
        </p:nvSpPr>
        <p:spPr>
          <a:xfrm>
            <a:off x="442360" y="4924026"/>
            <a:ext cx="267810" cy="1231802"/>
          </a:xfrm>
          <a:prstGeom prst="rect">
            <a:avLst/>
          </a:prstGeom>
          <a:gradFill>
            <a:gsLst>
              <a:gs pos="52000">
                <a:srgbClr val="FED46A"/>
              </a:gs>
              <a:gs pos="0">
                <a:srgbClr val="F59948"/>
              </a:gs>
              <a:gs pos="100000">
                <a:srgbClr val="E1833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DA7D8B-1B1B-4FC7-7750-915B6E03F790}"/>
              </a:ext>
            </a:extLst>
          </p:cNvPr>
          <p:cNvSpPr/>
          <p:nvPr userDrawn="1"/>
        </p:nvSpPr>
        <p:spPr>
          <a:xfrm>
            <a:off x="1554090" y="4964037"/>
            <a:ext cx="307433" cy="1206609"/>
          </a:xfrm>
          <a:prstGeom prst="rect">
            <a:avLst/>
          </a:prstGeom>
          <a:gradFill>
            <a:gsLst>
              <a:gs pos="40000">
                <a:srgbClr val="0088BA"/>
              </a:gs>
              <a:gs pos="0">
                <a:srgbClr val="B5E4F7"/>
              </a:gs>
              <a:gs pos="100000">
                <a:srgbClr val="084A6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E3257E-FE12-BFFC-F85F-8751163D88DB}"/>
              </a:ext>
            </a:extLst>
          </p:cNvPr>
          <p:cNvSpPr txBox="1"/>
          <p:nvPr userDrawn="1"/>
        </p:nvSpPr>
        <p:spPr>
          <a:xfrm>
            <a:off x="260453" y="1310798"/>
            <a:ext cx="5859470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57175" indent="-257175">
              <a:buFont typeface="+mj-lt"/>
              <a:buAutoNum type="arabicPeriod"/>
            </a:pPr>
            <a:r>
              <a:rPr lang="en-US" sz="1200" b="1" u="sng">
                <a:latin typeface="Arial" panose="020B0604020202020204" pitchFamily="34" charset="0"/>
                <a:cs typeface="Arial" panose="020B0604020202020204" pitchFamily="34" charset="0"/>
              </a:rPr>
              <a:t>The Value of Copper 2024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lor theme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lect View/Slide Master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elect Colors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Under </a:t>
            </a:r>
            <a:r>
              <a:rPr lang="en-US" sz="1200" b="1" u="sng">
                <a:latin typeface="Arial" panose="020B0604020202020204" pitchFamily="34" charset="0"/>
                <a:cs typeface="Arial" panose="020B0604020202020204" pitchFamily="34" charset="0"/>
              </a:rPr>
              <a:t>Custom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 select THE VALUE OF COPPER 2024 them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13DDDD-AC81-1E07-996D-1D6A43715280}"/>
              </a:ext>
            </a:extLst>
          </p:cNvPr>
          <p:cNvSpPr/>
          <p:nvPr userDrawn="1"/>
        </p:nvSpPr>
        <p:spPr>
          <a:xfrm>
            <a:off x="325130" y="3198414"/>
            <a:ext cx="206923" cy="245798"/>
          </a:xfrm>
          <a:prstGeom prst="rect">
            <a:avLst/>
          </a:prstGeom>
          <a:solidFill>
            <a:srgbClr val="0088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ABEFD5F9-3BE8-6B71-E2EE-5FE6BAC823C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892235173"/>
              </p:ext>
            </p:extLst>
          </p:nvPr>
        </p:nvGraphicFramePr>
        <p:xfrm>
          <a:off x="4911751" y="3044858"/>
          <a:ext cx="3923946" cy="3487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6511B0FB-6724-6C81-F572-2ADF14EB6912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23718867"/>
              </p:ext>
            </p:extLst>
          </p:nvPr>
        </p:nvGraphicFramePr>
        <p:xfrm>
          <a:off x="2063034" y="4507243"/>
          <a:ext cx="2665334" cy="2128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FE853E74-1B5C-BEAC-DDFC-786FEC4426EB}"/>
              </a:ext>
            </a:extLst>
          </p:cNvPr>
          <p:cNvSpPr/>
          <p:nvPr userDrawn="1"/>
        </p:nvSpPr>
        <p:spPr>
          <a:xfrm>
            <a:off x="1832980" y="3198414"/>
            <a:ext cx="206923" cy="245798"/>
          </a:xfrm>
          <a:prstGeom prst="rect">
            <a:avLst/>
          </a:prstGeom>
          <a:solidFill>
            <a:srgbClr val="8D6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DCD109F-9CB0-2C9C-DB76-D76DF5BCA409}"/>
              </a:ext>
            </a:extLst>
          </p:cNvPr>
          <p:cNvSpPr txBox="1"/>
          <p:nvPr userDrawn="1"/>
        </p:nvSpPr>
        <p:spPr>
          <a:xfrm>
            <a:off x="148121" y="4078794"/>
            <a:ext cx="545193" cy="2275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/>
              <a:t>#934E15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8CA4B8-B104-C60B-1CF0-7E53191E9937}"/>
              </a:ext>
            </a:extLst>
          </p:cNvPr>
          <p:cNvSpPr txBox="1"/>
          <p:nvPr userDrawn="1"/>
        </p:nvSpPr>
        <p:spPr>
          <a:xfrm>
            <a:off x="101566" y="3470719"/>
            <a:ext cx="561419" cy="2457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/>
              <a:t>#0088BA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0B32B93-ADEA-6792-93A2-3085023E1577}"/>
              </a:ext>
            </a:extLst>
          </p:cNvPr>
          <p:cNvGrpSpPr/>
          <p:nvPr userDrawn="1"/>
        </p:nvGrpSpPr>
        <p:grpSpPr>
          <a:xfrm>
            <a:off x="7898813" y="1345382"/>
            <a:ext cx="720941" cy="500575"/>
            <a:chOff x="7525504" y="1297924"/>
            <a:chExt cx="2552344" cy="13291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55951B4-E1A2-9B13-7F52-0D2D33FD486C}"/>
                </a:ext>
              </a:extLst>
            </p:cNvPr>
            <p:cNvSpPr/>
            <p:nvPr userDrawn="1"/>
          </p:nvSpPr>
          <p:spPr>
            <a:xfrm rot="16200000">
              <a:off x="7493951" y="2027571"/>
              <a:ext cx="631045" cy="567940"/>
            </a:xfrm>
            <a:prstGeom prst="rect">
              <a:avLst/>
            </a:prstGeom>
            <a:solidFill>
              <a:srgbClr val="8B6C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F24005-2789-0F32-4264-BD2B3C62A97F}"/>
                </a:ext>
              </a:extLst>
            </p:cNvPr>
            <p:cNvSpPr/>
            <p:nvPr userDrawn="1"/>
          </p:nvSpPr>
          <p:spPr>
            <a:xfrm rot="16200000">
              <a:off x="8114857" y="2015738"/>
              <a:ext cx="631045" cy="567940"/>
            </a:xfrm>
            <a:prstGeom prst="rect">
              <a:avLst/>
            </a:prstGeom>
            <a:solidFill>
              <a:srgbClr val="AF75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9F589F1-5694-0338-1BF0-9A869568FF86}"/>
                </a:ext>
              </a:extLst>
            </p:cNvPr>
            <p:cNvSpPr/>
            <p:nvPr userDrawn="1"/>
          </p:nvSpPr>
          <p:spPr>
            <a:xfrm rot="16200000">
              <a:off x="8796606" y="2027571"/>
              <a:ext cx="631045" cy="567940"/>
            </a:xfrm>
            <a:prstGeom prst="rect">
              <a:avLst/>
            </a:prstGeom>
            <a:solidFill>
              <a:srgbClr val="B745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D9762A9-5CC6-73F1-050E-7FA648844D69}"/>
                </a:ext>
              </a:extLst>
            </p:cNvPr>
            <p:cNvSpPr/>
            <p:nvPr userDrawn="1"/>
          </p:nvSpPr>
          <p:spPr>
            <a:xfrm rot="16200000">
              <a:off x="9478355" y="2015738"/>
              <a:ext cx="631045" cy="567940"/>
            </a:xfrm>
            <a:prstGeom prst="rect">
              <a:avLst/>
            </a:prstGeom>
            <a:solidFill>
              <a:srgbClr val="C87E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C070C71-CE37-92E2-0545-5B781A1D1378}"/>
                </a:ext>
              </a:extLst>
            </p:cNvPr>
            <p:cNvSpPr/>
            <p:nvPr userDrawn="1"/>
          </p:nvSpPr>
          <p:spPr>
            <a:xfrm rot="16200000">
              <a:off x="8143027" y="1329477"/>
              <a:ext cx="631045" cy="567940"/>
            </a:xfrm>
            <a:prstGeom prst="rect">
              <a:avLst/>
            </a:prstGeom>
            <a:solidFill>
              <a:srgbClr val="984D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6ED465A-669B-F9BE-722E-58172849C11B}"/>
                </a:ext>
              </a:extLst>
            </p:cNvPr>
            <p:cNvSpPr/>
            <p:nvPr userDrawn="1"/>
          </p:nvSpPr>
          <p:spPr>
            <a:xfrm rot="16200000">
              <a:off x="8825909" y="1329477"/>
              <a:ext cx="631045" cy="567940"/>
            </a:xfrm>
            <a:prstGeom prst="rect">
              <a:avLst/>
            </a:prstGeom>
            <a:solidFill>
              <a:srgbClr val="D896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07FC58C-D212-6428-C5AE-CB733B4D3E0D}"/>
                </a:ext>
              </a:extLst>
            </p:cNvPr>
            <p:cNvSpPr/>
            <p:nvPr userDrawn="1"/>
          </p:nvSpPr>
          <p:spPr>
            <a:xfrm rot="16200000">
              <a:off x="7493951" y="1329477"/>
              <a:ext cx="631045" cy="567940"/>
            </a:xfrm>
            <a:prstGeom prst="rect">
              <a:avLst/>
            </a:prstGeom>
            <a:solidFill>
              <a:srgbClr val="F2D3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6C384E8-E467-1920-F822-670E72B3C17A}"/>
                </a:ext>
              </a:extLst>
            </p:cNvPr>
            <p:cNvSpPr/>
            <p:nvPr userDrawn="1"/>
          </p:nvSpPr>
          <p:spPr>
            <a:xfrm rot="16200000">
              <a:off x="9461462" y="1329477"/>
              <a:ext cx="631045" cy="567940"/>
            </a:xfrm>
            <a:prstGeom prst="rect">
              <a:avLst/>
            </a:prstGeom>
            <a:solidFill>
              <a:srgbClr val="F9C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8D08324F-6AFA-6711-33FD-9A0CA33914EB}"/>
              </a:ext>
            </a:extLst>
          </p:cNvPr>
          <p:cNvSpPr/>
          <p:nvPr userDrawn="1"/>
        </p:nvSpPr>
        <p:spPr>
          <a:xfrm>
            <a:off x="813618" y="3198414"/>
            <a:ext cx="206923" cy="245798"/>
          </a:xfrm>
          <a:prstGeom prst="rect">
            <a:avLst/>
          </a:prstGeom>
          <a:solidFill>
            <a:srgbClr val="27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1BA2C1F-7565-9527-ACCE-9CCAA6A9B5FB}"/>
              </a:ext>
            </a:extLst>
          </p:cNvPr>
          <p:cNvSpPr txBox="1"/>
          <p:nvPr userDrawn="1"/>
        </p:nvSpPr>
        <p:spPr>
          <a:xfrm>
            <a:off x="616876" y="3470720"/>
            <a:ext cx="75090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/>
              <a:t>#27B3D3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5DA3651-3DE9-0232-82D2-53696810851C}"/>
              </a:ext>
            </a:extLst>
          </p:cNvPr>
          <p:cNvSpPr/>
          <p:nvPr userDrawn="1"/>
        </p:nvSpPr>
        <p:spPr>
          <a:xfrm rot="16200000">
            <a:off x="1260588" y="3826848"/>
            <a:ext cx="245797" cy="206924"/>
          </a:xfrm>
          <a:prstGeom prst="rect">
            <a:avLst/>
          </a:prstGeom>
          <a:solidFill>
            <a:srgbClr val="FEC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42E0660-5D4E-42D8-B6D4-89F059082275}"/>
              </a:ext>
            </a:extLst>
          </p:cNvPr>
          <p:cNvSpPr txBox="1"/>
          <p:nvPr userDrawn="1"/>
        </p:nvSpPr>
        <p:spPr>
          <a:xfrm>
            <a:off x="1111496" y="4078795"/>
            <a:ext cx="75090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/>
              <a:t>#FEC240</a:t>
            </a:r>
          </a:p>
          <a:p>
            <a:endParaRPr lang="en-US" sz="7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18F6D62-B233-9278-4EDB-2D916D095887}"/>
              </a:ext>
            </a:extLst>
          </p:cNvPr>
          <p:cNvSpPr/>
          <p:nvPr userDrawn="1"/>
        </p:nvSpPr>
        <p:spPr>
          <a:xfrm>
            <a:off x="1915354" y="4975762"/>
            <a:ext cx="319538" cy="1206609"/>
          </a:xfrm>
          <a:prstGeom prst="rect">
            <a:avLst/>
          </a:prstGeom>
          <a:gradFill>
            <a:gsLst>
              <a:gs pos="98473">
                <a:srgbClr val="638600"/>
              </a:gs>
              <a:gs pos="4580">
                <a:srgbClr val="C0FF0D"/>
              </a:gs>
              <a:gs pos="40000">
                <a:srgbClr val="B0EE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79FFCF3-21B1-EDE3-65F9-DC32EE4A197F}"/>
              </a:ext>
            </a:extLst>
          </p:cNvPr>
          <p:cNvSpPr/>
          <p:nvPr userDrawn="1"/>
        </p:nvSpPr>
        <p:spPr>
          <a:xfrm>
            <a:off x="1180573" y="4975763"/>
            <a:ext cx="319538" cy="1206609"/>
          </a:xfrm>
          <a:prstGeom prst="rect">
            <a:avLst/>
          </a:prstGeom>
          <a:gradFill>
            <a:gsLst>
              <a:gs pos="1527">
                <a:srgbClr val="F9C397"/>
              </a:gs>
              <a:gs pos="49000">
                <a:srgbClr val="FB7645"/>
              </a:gs>
              <a:gs pos="98473">
                <a:srgbClr val="B7452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A418EE4-307A-2A23-19E6-0F48EBC3CEB4}"/>
              </a:ext>
            </a:extLst>
          </p:cNvPr>
          <p:cNvSpPr txBox="1"/>
          <p:nvPr userDrawn="1"/>
        </p:nvSpPr>
        <p:spPr>
          <a:xfrm>
            <a:off x="651584" y="4078795"/>
            <a:ext cx="54519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/>
              <a:t>#D34727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D9FFA56-7D86-4DB2-7609-3A8920FE444F}"/>
              </a:ext>
            </a:extLst>
          </p:cNvPr>
          <p:cNvSpPr/>
          <p:nvPr userDrawn="1"/>
        </p:nvSpPr>
        <p:spPr>
          <a:xfrm rot="16200000">
            <a:off x="776844" y="3826848"/>
            <a:ext cx="245797" cy="206924"/>
          </a:xfrm>
          <a:prstGeom prst="rect">
            <a:avLst/>
          </a:prstGeom>
          <a:solidFill>
            <a:srgbClr val="D34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C0534C-1623-DC99-B40F-9E4820A274F8}"/>
              </a:ext>
            </a:extLst>
          </p:cNvPr>
          <p:cNvSpPr/>
          <p:nvPr userDrawn="1"/>
        </p:nvSpPr>
        <p:spPr>
          <a:xfrm>
            <a:off x="1269062" y="3198414"/>
            <a:ext cx="206923" cy="245798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EFC94E0-DDFD-FB3C-3996-C52C10B72829}"/>
              </a:ext>
            </a:extLst>
          </p:cNvPr>
          <p:cNvSpPr txBox="1"/>
          <p:nvPr userDrawn="1"/>
        </p:nvSpPr>
        <p:spPr>
          <a:xfrm>
            <a:off x="1168758" y="3470720"/>
            <a:ext cx="75090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/>
              <a:t>#88BA00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A225E91-61CF-FF06-D020-2C9FD83A03A7}"/>
              </a:ext>
            </a:extLst>
          </p:cNvPr>
          <p:cNvSpPr/>
          <p:nvPr userDrawn="1"/>
        </p:nvSpPr>
        <p:spPr>
          <a:xfrm rot="16200000">
            <a:off x="288867" y="3826848"/>
            <a:ext cx="245797" cy="206924"/>
          </a:xfrm>
          <a:prstGeom prst="rect">
            <a:avLst/>
          </a:prstGeom>
          <a:solidFill>
            <a:srgbClr val="934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AB5655-B481-FF0A-35B9-52A93A28F178}"/>
              </a:ext>
            </a:extLst>
          </p:cNvPr>
          <p:cNvSpPr/>
          <p:nvPr userDrawn="1"/>
        </p:nvSpPr>
        <p:spPr>
          <a:xfrm>
            <a:off x="1832980" y="3807411"/>
            <a:ext cx="206923" cy="245798"/>
          </a:xfrm>
          <a:prstGeom prst="rect">
            <a:avLst/>
          </a:prstGeom>
          <a:solidFill>
            <a:srgbClr val="E183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DBBE12A-D166-1CD8-3040-E0D21C917AAB}"/>
              </a:ext>
            </a:extLst>
          </p:cNvPr>
          <p:cNvSpPr txBox="1"/>
          <p:nvPr userDrawn="1"/>
        </p:nvSpPr>
        <p:spPr>
          <a:xfrm>
            <a:off x="1737500" y="4078795"/>
            <a:ext cx="75090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/>
              <a:t>#E18332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DE47470-5FE2-E648-60A0-42A2FDC5CA17}"/>
              </a:ext>
            </a:extLst>
          </p:cNvPr>
          <p:cNvSpPr txBox="1"/>
          <p:nvPr userDrawn="1"/>
        </p:nvSpPr>
        <p:spPr>
          <a:xfrm>
            <a:off x="1720640" y="3470720"/>
            <a:ext cx="75090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/>
              <a:t>#8D6E59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5198F4C2-2A77-3E24-4785-0986226394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19209" b="6673"/>
          <a:stretch/>
        </p:blipFill>
        <p:spPr>
          <a:xfrm>
            <a:off x="4911751" y="1268585"/>
            <a:ext cx="4190132" cy="1333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9172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2C0EE13-A8FD-8FC1-ADF3-FA193ECE7C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/>
          <a:srcRect l="21957" r="5679"/>
          <a:stretch/>
        </p:blipFill>
        <p:spPr>
          <a:xfrm>
            <a:off x="2382" y="3176"/>
            <a:ext cx="9141618" cy="1253245"/>
          </a:xfrm>
          <a:prstGeom prst="rect">
            <a:avLst/>
          </a:prstGeom>
        </p:spPr>
      </p:pic>
      <p:pic>
        <p:nvPicPr>
          <p:cNvPr id="9" name="Picture 8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45C9CC86-20CD-1023-72F9-871990F36B74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940938" y="80243"/>
            <a:ext cx="1690030" cy="298391"/>
          </a:xfrm>
          <a:prstGeom prst="rect">
            <a:avLst/>
          </a:prstGeom>
        </p:spPr>
      </p:pic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87921134-C536-6CAD-E50B-4E762A1D2D3D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7829025" y="490209"/>
            <a:ext cx="1265458" cy="48968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3C3C15-431A-4959-8649-43AA52F84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4406680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92" imgH="595" progId="TCLayout.ActiveDocument.1">
                  <p:embed/>
                </p:oleObj>
              </mc:Choice>
              <mc:Fallback>
                <p:oleObj name="think-cell Slide" r:id="rId21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3C3C15-431A-4959-8649-43AA52F8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82C2B-A5A0-C04D-9DA5-74DC61FF2DA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392692" y="6493999"/>
            <a:ext cx="22517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23D4F-DAE9-EC46-99AC-2115C96A986A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028950" y="649399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01A8757-5FEC-47BA-A12B-15160D7A32B2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31582" y="1517029"/>
            <a:ext cx="8081096" cy="46624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516731" lvl="2" indent="-17026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</a:pPr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01FB32A-195F-447B-93AB-5EBC804B0022}"/>
              </a:ext>
            </a:extLst>
          </p:cNvPr>
          <p:cNvSpPr txBox="1">
            <a:spLocks/>
          </p:cNvSpPr>
          <p:nvPr userDrawn="1"/>
        </p:nvSpPr>
        <p:spPr>
          <a:xfrm>
            <a:off x="8751308" y="6591103"/>
            <a:ext cx="392692" cy="2680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A545FE2-DEF4-4BC2-9058-BF1DA4AEB4E3}" type="slidenum">
              <a:rPr lang="en-US" sz="800" smtClean="0">
                <a:solidFill>
                  <a:schemeClr val="tx1"/>
                </a:solidFill>
              </a:rPr>
              <a:pPr algn="r"/>
              <a:t>‹#›</a:t>
            </a:fld>
            <a:endParaRPr lang="en-US" sz="800">
              <a:solidFill>
                <a:schemeClr val="tx1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4AD2E87-F416-4650-863C-8B826391AD7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31582" y="391154"/>
            <a:ext cx="6073424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0762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9" r:id="rId2"/>
    <p:sldLayoutId id="2147483760" r:id="rId3"/>
    <p:sldLayoutId id="2147483707" r:id="rId4"/>
    <p:sldLayoutId id="2147483768" r:id="rId5"/>
    <p:sldLayoutId id="2147483761" r:id="rId6"/>
    <p:sldLayoutId id="2147483769" r:id="rId7"/>
    <p:sldLayoutId id="2147483762" r:id="rId8"/>
    <p:sldLayoutId id="2147483763" r:id="rId9"/>
    <p:sldLayoutId id="2147483764" r:id="rId10"/>
    <p:sldLayoutId id="2147483766" r:id="rId11"/>
    <p:sldLayoutId id="2147483765" r:id="rId12"/>
    <p:sldLayoutId id="2147483767" r:id="rId13"/>
    <p:sldLayoutId id="2147483732" r:id="rId14"/>
    <p:sldLayoutId id="2147483773" r:id="rId15"/>
  </p:sldLayoutIdLst>
  <p:hf hdr="0" ftr="0" dt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2400" b="1" i="0" kern="1200">
          <a:solidFill>
            <a:schemeClr val="bg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173831" indent="-173831" algn="l" defTabSz="685800" rtl="0" eaLnBrk="1" latinLnBrk="0" hangingPunct="1">
        <a:lnSpc>
          <a:spcPct val="90000"/>
        </a:lnSpc>
        <a:spcBef>
          <a:spcPts val="750"/>
        </a:spcBef>
        <a:buClr>
          <a:srgbClr val="005DAB"/>
        </a:buClr>
        <a:buSzPct val="110000"/>
        <a:buFont typeface="Arial" panose="020B0604020202020204" pitchFamily="34" charset="0"/>
        <a:buChar char="•"/>
        <a:defRPr lang="en-US" sz="18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71488" indent="-257175" algn="l" defTabSz="685800" rtl="0" eaLnBrk="1" latinLnBrk="0" hangingPunct="1">
        <a:lnSpc>
          <a:spcPct val="90000"/>
        </a:lnSpc>
        <a:spcBef>
          <a:spcPts val="375"/>
        </a:spcBef>
        <a:buClr>
          <a:srgbClr val="005DAB"/>
        </a:buClr>
        <a:buFont typeface="Arial" panose="020B0604020202020204" pitchFamily="34" charset="0"/>
        <a:buChar char="–"/>
        <a:defRPr lang="en-US" sz="165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01266" indent="-254794" algn="l" defTabSz="685800" rtl="0" eaLnBrk="1" latinLnBrk="0" hangingPunct="1">
        <a:lnSpc>
          <a:spcPct val="90000"/>
        </a:lnSpc>
        <a:spcBef>
          <a:spcPts val="375"/>
        </a:spcBef>
        <a:buClr>
          <a:srgbClr val="005DAB"/>
        </a:buClr>
        <a:buSzPct val="80000"/>
        <a:buFont typeface="Courier New" panose="02070309020205020404" pitchFamily="49" charset="0"/>
        <a:buChar char="o"/>
        <a:defRPr lang="en-US" sz="15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800" indent="-211931" algn="l" defTabSz="685800" rtl="0" eaLnBrk="1" latinLnBrk="0" hangingPunct="1">
        <a:lnSpc>
          <a:spcPct val="90000"/>
        </a:lnSpc>
        <a:spcBef>
          <a:spcPts val="375"/>
        </a:spcBef>
        <a:buClr>
          <a:srgbClr val="005DAB"/>
        </a:buClr>
        <a:buFont typeface="Arial" panose="020B0604020202020204" pitchFamily="34" charset="0"/>
        <a:buChar char="•"/>
        <a:defRPr lang="en-US" sz="135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197" indent="-211931" algn="l" defTabSz="685800" rtl="0" eaLnBrk="1" latinLnBrk="0" hangingPunct="1">
        <a:lnSpc>
          <a:spcPct val="90000"/>
        </a:lnSpc>
        <a:spcBef>
          <a:spcPts val="375"/>
        </a:spcBef>
        <a:buClr>
          <a:srgbClr val="005DAB"/>
        </a:buClr>
        <a:buSzPct val="80000"/>
        <a:buFont typeface="Arial" panose="020B0604020202020204" pitchFamily="34" charset="0"/>
        <a:buChar char="–"/>
        <a:defRPr lang="en-US" sz="1200" b="0" i="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hyperlink" Target="https://forms.office.com/Pages/ResponsePage.aspx?id=4ZwiXzx37Uam-pdABvrgl4fT3sMvUnJJhGa1-nmji-NUQlY2ME1IRjQ3UlFIVEYwQUdVUUlYUzRSQy4u&amp;origin=QRCode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oleObject" Target="../embeddings/oleObject6.bin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F62D0F-4856-B62B-7439-10D0D1F4AF38}"/>
              </a:ext>
            </a:extLst>
          </p:cNvPr>
          <p:cNvSpPr txBox="1">
            <a:spLocks/>
          </p:cNvSpPr>
          <p:nvPr/>
        </p:nvSpPr>
        <p:spPr>
          <a:xfrm>
            <a:off x="443451" y="2959413"/>
            <a:ext cx="4442011" cy="598703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85000"/>
              </a:lnSpc>
            </a:pPr>
            <a:r>
              <a:rPr lang="en-US"/>
              <a:t>Henderson HSE Contractor Meeting – May 2025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8EF732-D959-ECB3-00B1-C75B74F6A1F7}"/>
              </a:ext>
            </a:extLst>
          </p:cNvPr>
          <p:cNvSpPr txBox="1">
            <a:spLocks/>
          </p:cNvSpPr>
          <p:nvPr/>
        </p:nvSpPr>
        <p:spPr>
          <a:xfrm>
            <a:off x="426132" y="3821278"/>
            <a:ext cx="4125304" cy="43583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688B"/>
              </a:buClr>
              <a:buSzPct val="110000"/>
              <a:buFont typeface="Arial" panose="020B0604020202020204" pitchFamily="34" charset="0"/>
              <a:buNone/>
              <a:defRPr lang="en-US" sz="2000" b="0" i="0" kern="120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688B"/>
              </a:buClr>
              <a:buFont typeface="Arial" panose="020B0604020202020204" pitchFamily="34" charset="0"/>
              <a:buNone/>
              <a:defRPr lang="en-US" sz="2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688B"/>
              </a:buClr>
              <a:buSzPct val="80000"/>
              <a:buFont typeface="Courier New" panose="02070309020205020404" pitchFamily="49" charset="0"/>
              <a:buNone/>
              <a:defRPr lang="en-US" sz="18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688B"/>
              </a:buClr>
              <a:buFont typeface="Arial" panose="020B0604020202020204" pitchFamily="34" charset="0"/>
              <a:buNone/>
              <a:defRPr lang="en-US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688B"/>
              </a:buClr>
              <a:buSzPct val="80000"/>
              <a:buFont typeface="Arial" panose="020B0604020202020204" pitchFamily="34" charset="0"/>
              <a:buNone/>
              <a:defRPr lang="en-US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05/22/2025</a:t>
            </a:r>
            <a:r>
              <a:rPr lang="en-US" altLang="en-US" sz="1600" b="1">
                <a:solidFill>
                  <a:srgbClr val="D0562E"/>
                </a:solidFill>
              </a:rPr>
              <a:t> 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6175014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99CD13-2903-9524-5A8C-E9C24DC510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6B667-5BE8-4D72-9AB9-5EF6A1258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7147858" cy="607555"/>
          </a:xfrm>
        </p:spPr>
        <p:txBody>
          <a:bodyPr/>
          <a:lstStyle/>
          <a:p>
            <a:r>
              <a:rPr lang="en-US" dirty="0"/>
              <a:t>Environmental Topic – “Hard to Recycle” Events and Town Cleanup Day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BE82BA-FBD6-82CD-870C-2DA0F73BB6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6490" y="1519519"/>
            <a:ext cx="8611263" cy="4464423"/>
          </a:xfrm>
        </p:spPr>
        <p:txBody>
          <a:bodyPr/>
          <a:lstStyle/>
          <a:p>
            <a:pPr marL="0" marR="6550" indent="0" algn="just">
              <a:buNone/>
            </a:pPr>
            <a:endParaRPr lang="en-US" sz="17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marR="6550" indent="0" algn="just">
              <a:buNone/>
            </a:pPr>
            <a:r>
              <a:rPr lang="en-US" sz="1700" b="1" i="0" u="sng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Household Hazardous Waste Event in Summit</a:t>
            </a:r>
          </a:p>
          <a:p>
            <a:pPr marL="0" marR="6550" indent="0" algn="just">
              <a:buNone/>
            </a:pPr>
            <a:endParaRPr lang="en-US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marR="6550" indent="0" algn="just">
              <a:buNone/>
            </a:pPr>
            <a:endParaRPr lang="en-US" sz="17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marR="6550" indent="0" algn="just">
              <a:buNone/>
            </a:pPr>
            <a:endParaRPr lang="en-US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marR="6550" indent="0" algn="just">
              <a:buNone/>
            </a:pPr>
            <a:endParaRPr lang="en-US" sz="17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marR="6550" indent="0" algn="just">
              <a:buNone/>
            </a:pPr>
            <a:endParaRPr lang="en-US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marR="6550" indent="0" algn="just">
              <a:buNone/>
            </a:pPr>
            <a:endParaRPr lang="en-US" sz="17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marR="6550" indent="0" algn="just">
              <a:buNone/>
            </a:pPr>
            <a:endParaRPr lang="en-US" sz="17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marR="6550" indent="0" algn="just">
              <a:buNone/>
            </a:pPr>
            <a:endParaRPr lang="en-US" sz="17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302AF1-A037-A38F-A868-AD4D1FAEA93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863" t="20088" r="47411" b="63557"/>
          <a:stretch/>
        </p:blipFill>
        <p:spPr>
          <a:xfrm>
            <a:off x="0" y="2130194"/>
            <a:ext cx="4842555" cy="21522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60FE9AF-CC7C-C0F9-417C-EDED66391EA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7646" t="43555" b="16918"/>
          <a:stretch/>
        </p:blipFill>
        <p:spPr>
          <a:xfrm>
            <a:off x="4842555" y="1816608"/>
            <a:ext cx="4261688" cy="426028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6D9CE84-611F-11FF-9D23-072F0EC4BCE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3295" t="20802" r="3393" b="63911"/>
          <a:stretch/>
        </p:blipFill>
        <p:spPr>
          <a:xfrm>
            <a:off x="393800" y="4449640"/>
            <a:ext cx="4301446" cy="2010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573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546DC6-57BA-27A8-83E9-F066FC7602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CF4A9A-8C9D-A4A3-8360-51091B681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tal Event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75EABB4-D9FB-987D-96C4-E6439F99BD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C9FB030-8A62-92B4-DF8D-B1BD90CCFD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2757"/>
            <a:ext cx="9144000" cy="463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044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F33923-A4C3-844A-4444-63BDAF9D04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A606DC-CBB8-BA32-EE0C-5FD21CB29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tal Events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A21DBA3-06D5-7417-4052-227A890CC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FD9200E-B531-7CAC-F1E2-9A3E3D2E94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80689"/>
            <a:ext cx="9144000" cy="4569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957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96E8D8-DC4F-CE74-4CD7-0DA12BE4D2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B0CE6-A8F4-FB50-BFCF-767E8D0D2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tential Fatal Events (PFE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989C71-9AAF-C752-D3DC-1827791DAB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94064"/>
            <a:ext cx="9144000" cy="4615919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8D6498C-DEA9-50F1-5B17-009373809A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772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3958C1-DD39-060F-3F27-F83D6B71B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2DA431-80E4-85DF-B4AD-C88ACE21E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tential Fatal Events (PFE)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34ECB55-682A-FDBF-E743-2F4EC8E259E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1559447"/>
            <a:ext cx="9143883" cy="4634089"/>
          </a:xfrm>
        </p:spPr>
      </p:pic>
    </p:spTree>
    <p:extLst>
      <p:ext uri="{BB962C8B-B14F-4D97-AF65-F5344CB8AC3E}">
        <p14:creationId xmlns:p14="http://schemas.microsoft.com/office/powerpoint/2010/main" val="39947671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FE20A-C264-A01F-7386-B269CE42F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gh Risk/Actionable Event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9CE91CF-12A6-8C6E-E6B8-DF2DA209D58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508" y="1750229"/>
            <a:ext cx="9137492" cy="4612633"/>
          </a:xfrm>
        </p:spPr>
      </p:pic>
    </p:spTree>
    <p:extLst>
      <p:ext uri="{BB962C8B-B14F-4D97-AF65-F5344CB8AC3E}">
        <p14:creationId xmlns:p14="http://schemas.microsoft.com/office/powerpoint/2010/main" val="29256396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63B420-0351-5EC4-340E-561CBB2746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CDA8C6-329A-0176-8D04-0A3102C4D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gh Risk/Actionable Even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E68A3D-0FBD-D6FA-6435-CA593FBE64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572BD9C-0350-BF47-3112-CC061912AB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45296"/>
            <a:ext cx="9144000" cy="4615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0500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4C303C-56B8-5B2D-8D2D-C0EAA53C14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4126A1-6553-F655-DB26-325A55AB4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gh Risk/Actionable Even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8C8233-E4B3-6F16-256D-3B89431BD3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CA60A8-B5D0-5218-4212-A885952F67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57488"/>
            <a:ext cx="9144000" cy="4615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3406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CB8B88-F3F5-CEAC-8231-F1FA1F742E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DD8E4A-D99E-5EDC-5B58-E15C28414B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gh Risk/Actionable Even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6B8FF8-2400-82B1-1C0B-CDCE644254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1E9688D-D765-8973-F813-CE7D19951A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40348"/>
            <a:ext cx="9144000" cy="4601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0158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0401C6-3648-F1AE-E02F-2A142C28F8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D86F22-A044-29A9-D916-935AED6F8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gh Risk/Actionable Even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4B2BAA-D46C-CF5B-B522-900D8F9392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9625A5-8D7F-BFC1-9F0F-81EF771B4F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83957"/>
            <a:ext cx="9144000" cy="4611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7188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EA1773-04F2-51DD-5C6C-ED44B972E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is this Meeting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06CC26-26E5-4441-3C94-D2ABCC016E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/>
              <a:t>Purpose:</a:t>
            </a:r>
          </a:p>
          <a:p>
            <a:r>
              <a:rPr lang="en-US" sz="2800"/>
              <a:t>For Henderson to have the opportunity to reach multiple contractors to discuss best practices when it comes to Health and Safety, Environmental and Contracts Management</a:t>
            </a:r>
          </a:p>
          <a:p>
            <a:r>
              <a:rPr lang="en-US" sz="2800"/>
              <a:t>Give contractors an open forum to bring up concerns, successes or incidents, learnings, etc. that is shared between all contractors and Henderson personnel</a:t>
            </a:r>
          </a:p>
          <a:p>
            <a:r>
              <a:rPr lang="en-US" sz="2800"/>
              <a:t>Help improve the safety culture and reduce safety incidents as a group</a:t>
            </a:r>
          </a:p>
        </p:txBody>
      </p:sp>
    </p:spTree>
    <p:extLst>
      <p:ext uri="{BB962C8B-B14F-4D97-AF65-F5344CB8AC3E}">
        <p14:creationId xmlns:p14="http://schemas.microsoft.com/office/powerpoint/2010/main" val="8815655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7F9004-188C-F2D6-DA22-E0111EB7D2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8A5A79-15D7-1DE5-C100-AEE06897F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SHA Safety Aler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B24291-E400-9FAC-22E3-A77870CBA4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A38445-1C30-2B71-9395-14FA59330E4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50000"/>
          <a:stretch/>
        </p:blipFill>
        <p:spPr>
          <a:xfrm>
            <a:off x="237744" y="1519519"/>
            <a:ext cx="8668512" cy="4943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5877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14163C-C62A-CF26-7C67-E1221EE926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FD1340-5FF5-7861-51FB-3E255CFCA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SHA Safety Aler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842B05-EB5C-5BD6-4E73-69DBBADA90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10CEE8-E8F3-F66C-8049-76FA974300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50000" b="5805"/>
          <a:stretch/>
        </p:blipFill>
        <p:spPr>
          <a:xfrm>
            <a:off x="1" y="1889163"/>
            <a:ext cx="9144000" cy="4609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7191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775AD6-3705-F2B4-89CD-3C0788C08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6584307" cy="607555"/>
          </a:xfrm>
        </p:spPr>
        <p:txBody>
          <a:bodyPr anchor="ctr">
            <a:normAutofit/>
          </a:bodyPr>
          <a:lstStyle/>
          <a:p>
            <a:r>
              <a:rPr lang="en-US"/>
              <a:t>MSHA Fatality Aler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F2A1DE-A2B2-8CAE-22BF-B3FA12AB9F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8F00CD-8F76-9496-85C1-18215FE022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102" y="1519519"/>
            <a:ext cx="8579796" cy="5050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2788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9AFDB1-FBBD-06A4-9213-E319D497BE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232EB0-68A2-ACD2-776E-CDA93311B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6584307" cy="607555"/>
          </a:xfrm>
        </p:spPr>
        <p:txBody>
          <a:bodyPr anchor="ctr">
            <a:normAutofit/>
          </a:bodyPr>
          <a:lstStyle/>
          <a:p>
            <a:r>
              <a:rPr lang="en-US"/>
              <a:t>MSHA Fatality Aler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C71D3C9-9ABC-560B-6902-C8E353BF2E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7C5E455-29DC-84EE-DD14-79F2FA9BD9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813" y="1573988"/>
            <a:ext cx="9054187" cy="4409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892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644CD9-EEEF-E4DB-A968-48556C27C3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D73ED5-0A65-C22C-9AAA-A6BCA498A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nderson Incidents –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7BE6E0-B2C5-1414-F385-611BE1AA43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59" y="1344247"/>
            <a:ext cx="4031561" cy="463969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173355" indent="-173355"/>
            <a:endParaRPr lang="en-US" dirty="0"/>
          </a:p>
          <a:p>
            <a:pPr marL="0" indent="0">
              <a:buNone/>
            </a:pPr>
            <a:r>
              <a:rPr lang="en-US" dirty="0"/>
              <a:t>Summary: Reportable Injury 4/8</a:t>
            </a:r>
          </a:p>
          <a:p>
            <a:pPr marL="173355" indent="-173355"/>
            <a:r>
              <a:rPr lang="en-US" b="0" i="0" dirty="0">
                <a:solidFill>
                  <a:srgbClr val="333333"/>
                </a:solidFill>
                <a:effectLst/>
                <a:latin typeface="-apple-system"/>
              </a:rPr>
              <a:t>Contractor injured when primary mill discharge cover liner fell outside Mill</a:t>
            </a:r>
          </a:p>
          <a:p>
            <a:pPr marL="173355" indent="-173355"/>
            <a:r>
              <a:rPr lang="en-US" b="0" i="0" dirty="0">
                <a:solidFill>
                  <a:srgbClr val="333333"/>
                </a:solidFill>
                <a:effectLst/>
                <a:latin typeface="-apple-system"/>
              </a:rPr>
              <a:t>Liner was improperly cribbed causing it to shift and fall while moving along rollers</a:t>
            </a:r>
          </a:p>
          <a:p>
            <a:pPr marL="173355" indent="-173355"/>
            <a:r>
              <a:rPr lang="en-US" b="0" i="0" dirty="0">
                <a:solidFill>
                  <a:srgbClr val="333333"/>
                </a:solidFill>
                <a:effectLst/>
                <a:latin typeface="-apple-system"/>
              </a:rPr>
              <a:t>Line pinned their leg between liner and roller structure</a:t>
            </a:r>
            <a:endParaRPr lang="en-US" b="0" i="0" dirty="0">
              <a:solidFill>
                <a:srgbClr val="333333"/>
              </a:solidFill>
              <a:effectLst/>
              <a:latin typeface="-apple-system"/>
              <a:cs typeface="Arial"/>
            </a:endParaRPr>
          </a:p>
          <a:p>
            <a:pPr marL="173355" indent="-173355"/>
            <a:r>
              <a:rPr lang="en-US" b="0" i="0" dirty="0">
                <a:solidFill>
                  <a:srgbClr val="333333"/>
                </a:solidFill>
                <a:effectLst/>
                <a:latin typeface="-apple-system"/>
              </a:rPr>
              <a:t>Sustained soft tissue damage and bruising and received Medical Treatment</a:t>
            </a:r>
          </a:p>
          <a:p>
            <a:pPr marL="0" indent="0">
              <a:buNone/>
            </a:pPr>
            <a:r>
              <a:rPr lang="en-US" dirty="0"/>
              <a:t>Learnings:</a:t>
            </a:r>
          </a:p>
          <a:p>
            <a:pPr marL="173355" indent="-173355"/>
            <a:r>
              <a:rPr lang="en-US" dirty="0">
                <a:solidFill>
                  <a:srgbClr val="333333"/>
                </a:solidFill>
                <a:latin typeface="-apple-system"/>
              </a:rPr>
              <a:t>Thoroughly review SOPs with all involved employees and contractors</a:t>
            </a:r>
          </a:p>
          <a:p>
            <a:pPr marL="173355" indent="-173355"/>
            <a:r>
              <a:rPr lang="en-US" dirty="0">
                <a:solidFill>
                  <a:srgbClr val="333333"/>
                </a:solidFill>
                <a:latin typeface="-apple-system"/>
              </a:rPr>
              <a:t>Stop Work when a plan changes and ensure new plan has same level of control effectiveness</a:t>
            </a:r>
            <a:endParaRPr lang="en-US" dirty="0"/>
          </a:p>
          <a:p>
            <a:pPr marL="173355" indent="-173355"/>
            <a:endParaRPr lang="en-US" dirty="0"/>
          </a:p>
          <a:p>
            <a:pPr marL="173355" indent="-173355"/>
            <a:endParaRPr lang="en-US" dirty="0"/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B7BA2919-4BC7-A325-EC58-0CB688D5688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2068664" cy="206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33C0EDD-3A83-C330-EF57-737464ABBD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6341" y="2790909"/>
            <a:ext cx="4367108" cy="2456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68150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8BEF2F-65DF-5B98-3577-A7BA9D6C36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D1D4F-B585-694C-19F7-8834821C57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nderson FRM Audit Resul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786C1D-BD6D-749C-B3ED-B943B65BF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59" y="1502797"/>
            <a:ext cx="3794171" cy="448114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dirty="0"/>
              <a:t>125 Forms Submitted in April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Focus in April around Vehicle Impact on Person, Hazardous Substances and Electrical Hazard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Entanglement &amp; Crushing and Drowning missing control questions increased in month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u="sng" dirty="0"/>
              <a:t>AUDIT FOCUS FOR MAY/JUNE:</a:t>
            </a:r>
            <a:endParaRPr lang="en-US" dirty="0"/>
          </a:p>
          <a:p>
            <a:pPr>
              <a:buFontTx/>
              <a:buChar char="-"/>
            </a:pPr>
            <a:r>
              <a:rPr lang="en-US" dirty="0"/>
              <a:t>Entanglement &amp; Crushing</a:t>
            </a:r>
          </a:p>
          <a:p>
            <a:pPr>
              <a:buFontTx/>
              <a:buChar char="-"/>
            </a:pPr>
            <a:r>
              <a:rPr lang="en-US" dirty="0"/>
              <a:t>Hazardous Substances – Acute</a:t>
            </a:r>
          </a:p>
          <a:p>
            <a:pPr>
              <a:buFontTx/>
              <a:buChar char="-"/>
            </a:pPr>
            <a:r>
              <a:rPr lang="en-US" dirty="0"/>
              <a:t>Drowning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22EF699-FA66-E9D2-7EDB-07CE3706B4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4268435"/>
              </p:ext>
            </p:extLst>
          </p:nvPr>
        </p:nvGraphicFramePr>
        <p:xfrm>
          <a:off x="3983604" y="1415332"/>
          <a:ext cx="5160396" cy="5172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515815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CE27D5-BB08-636E-69C4-02A3E3582B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nderson Training Schedu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845CC2-BA87-83E7-E538-D7E59EFE04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8044EAF-F454-4193-7174-E277E6A4CD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00770"/>
            <a:ext cx="9144000" cy="402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9971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F6C561-A20D-C8D1-6C17-5E39DE15A0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60747-E1BA-8C4A-15D2-04A0AEBC7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enderson Training Schedu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BE8805-5342-99CA-212E-8A3FDF8DAE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6E309E-A5EA-685D-A36B-E58298E011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34345"/>
            <a:ext cx="9144000" cy="3902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0829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B1615F-8FED-1B83-9B51-D323E264A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74D1F0-3C8F-FA88-F7D6-8548107D1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Contractor Management Topic – Hours Reporting and Contractor Badg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6B4EA1-4A4E-017A-FBD0-F28F34625A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600" dirty="0"/>
              <a:t>Conversation on Hours Reporting</a:t>
            </a:r>
          </a:p>
          <a:p>
            <a:endParaRPr lang="en-US" sz="3600" dirty="0"/>
          </a:p>
          <a:p>
            <a:endParaRPr lang="en-US" sz="3600" dirty="0"/>
          </a:p>
          <a:p>
            <a:r>
              <a:rPr lang="en-US" sz="3600" dirty="0"/>
              <a:t>Conversation on Contractor Badges</a:t>
            </a:r>
          </a:p>
        </p:txBody>
      </p:sp>
    </p:spTree>
    <p:extLst>
      <p:ext uri="{BB962C8B-B14F-4D97-AF65-F5344CB8AC3E}">
        <p14:creationId xmlns:p14="http://schemas.microsoft.com/office/powerpoint/2010/main" val="15031842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D0364E-4105-95DC-A448-8EC8FB1CD8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6861611" cy="607555"/>
          </a:xfrm>
        </p:spPr>
        <p:txBody>
          <a:bodyPr/>
          <a:lstStyle/>
          <a:p>
            <a:r>
              <a:rPr lang="en-US">
                <a:cs typeface="Arial"/>
              </a:rPr>
              <a:t>Contractor Management Topic – EWS Access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80018B4-8BFB-30DB-1CA4-6165FA21D0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9476" y="1871211"/>
            <a:ext cx="2840217" cy="4464423"/>
          </a:xfrm>
        </p:spPr>
        <p:txBody>
          <a:bodyPr/>
          <a:lstStyle/>
          <a:p>
            <a:r>
              <a:rPr lang="en-US"/>
              <a:t>Access to site digital forms now available to Contractors!</a:t>
            </a:r>
          </a:p>
          <a:p>
            <a:r>
              <a:rPr lang="en-US"/>
              <a:t>Integration of Contractor submitted forms into internal dashboards</a:t>
            </a:r>
          </a:p>
          <a:p>
            <a:r>
              <a:rPr lang="en-US"/>
              <a:t>Forms can be used in online and offline modes</a:t>
            </a:r>
          </a:p>
          <a:p>
            <a:r>
              <a:rPr lang="en-US"/>
              <a:t>Request Access with QR Code or </a:t>
            </a:r>
            <a:r>
              <a:rPr lang="en-US">
                <a:hlinkClick r:id="rId2"/>
              </a:rPr>
              <a:t>HERE</a:t>
            </a:r>
            <a:endParaRPr lang="en-US"/>
          </a:p>
          <a:p>
            <a:endParaRPr lang="en-US"/>
          </a:p>
          <a:p>
            <a:r>
              <a:rPr lang="en-US"/>
              <a:t>Reach out to H&amp;S Department with any questions or issues</a:t>
            </a:r>
          </a:p>
        </p:txBody>
      </p:sp>
      <p:pic>
        <p:nvPicPr>
          <p:cNvPr id="18" name="Picture 17" descr="A cork board with notes and words&#10;&#10;AI-generated content may be incorrect.">
            <a:extLst>
              <a:ext uri="{FF2B5EF4-FFF2-40B4-BE49-F238E27FC236}">
                <a16:creationId xmlns:a16="http://schemas.microsoft.com/office/drawing/2014/main" id="{5289AED1-F95B-A09E-C8A3-A50D87BEEB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5155" y="1265273"/>
            <a:ext cx="4167460" cy="5553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313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74AC45-56B1-2607-F4E2-EB92CFCC6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ractor Share – Cementation</a:t>
            </a:r>
            <a:br>
              <a:rPr lang="en-US"/>
            </a:br>
            <a:r>
              <a:rPr lang="en-US"/>
              <a:t>Management of Change</a:t>
            </a:r>
          </a:p>
        </p:txBody>
      </p:sp>
      <p:graphicFrame>
        <p:nvGraphicFramePr>
          <p:cNvPr id="7" name="Content Placeholder 6"/>
          <p:cNvGraphicFramePr>
            <a:graphicFrameLocks noGrp="1" noChangeAspect="1"/>
          </p:cNvGraphicFramePr>
          <p:nvPr>
            <p:ph idx="1"/>
          </p:nvPr>
        </p:nvGraphicFramePr>
        <p:xfrm>
          <a:off x="1069381" y="1266501"/>
          <a:ext cx="7346197" cy="5510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6858000" imgH="5143500" progId="AcroExch.Document.DC">
                  <p:embed/>
                </p:oleObj>
              </mc:Choice>
              <mc:Fallback>
                <p:oleObj name="Acrobat Document" r:id="rId2" imgW="6858000" imgH="5143500" progId="AcroExch.Document.DC">
                  <p:embed/>
                  <p:pic>
                    <p:nvPicPr>
                      <p:cNvPr id="7" name="Content Placeholder 6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069381" y="1266501"/>
                        <a:ext cx="7346197" cy="5510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400385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D0364E-4105-95DC-A448-8EC8FB1CD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025 Contractor Meeting Schedu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80018B4-8BFB-30DB-1CA4-6165FA21D0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319" y="1871211"/>
            <a:ext cx="8464447" cy="4464423"/>
          </a:xfrm>
        </p:spPr>
        <p:txBody>
          <a:bodyPr numCol="2"/>
          <a:lstStyle/>
          <a:p>
            <a:pPr marL="0" indent="0">
              <a:buNone/>
            </a:pPr>
            <a:r>
              <a:rPr lang="en-US" sz="2000"/>
              <a:t>June 19</a:t>
            </a:r>
            <a:r>
              <a:rPr lang="en-US" sz="2000" baseline="30000"/>
              <a:t>th</a:t>
            </a: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r>
              <a:rPr lang="en-US" sz="2000"/>
              <a:t>August 14</a:t>
            </a:r>
            <a:r>
              <a:rPr lang="en-US" sz="2000" baseline="30000"/>
              <a:t>th</a:t>
            </a: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r>
              <a:rPr lang="en-US" sz="2000"/>
              <a:t>October 9</a:t>
            </a:r>
            <a:r>
              <a:rPr lang="en-US" sz="2000" baseline="30000"/>
              <a:t>th</a:t>
            </a: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r>
              <a:rPr lang="en-US" sz="2000"/>
              <a:t>December 18</a:t>
            </a:r>
            <a:r>
              <a:rPr lang="en-US" sz="2000" baseline="30000"/>
              <a:t>th</a:t>
            </a: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r>
              <a:rPr lang="en-US" sz="2000"/>
              <a:t>July 17</a:t>
            </a:r>
            <a:r>
              <a:rPr lang="en-US" sz="2000" baseline="30000"/>
              <a:t>th</a:t>
            </a: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r>
              <a:rPr lang="en-US" sz="2000"/>
              <a:t>September 11</a:t>
            </a:r>
            <a:r>
              <a:rPr lang="en-US" sz="2000" baseline="30000"/>
              <a:t>th</a:t>
            </a: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r>
              <a:rPr lang="en-US" sz="2000"/>
              <a:t>November 20</a:t>
            </a:r>
            <a:r>
              <a:rPr lang="en-US" sz="2000" baseline="30000"/>
              <a:t>th</a:t>
            </a: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endParaRPr lang="en-US" sz="2000"/>
          </a:p>
          <a:p>
            <a:pPr marL="0" indent="0">
              <a:buNone/>
            </a:pPr>
            <a:r>
              <a:rPr lang="en-US" sz="2000" u="sng"/>
              <a:t>Meetings begin 1PM Mountain Time</a:t>
            </a:r>
          </a:p>
          <a:p>
            <a:pPr marL="0" indent="0">
              <a:buNone/>
            </a:pPr>
            <a:r>
              <a:rPr lang="en-US" sz="2000" u="sng"/>
              <a:t>Mine &amp; Mill Room Options Monthly</a:t>
            </a:r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830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CED902C-2000-7733-5B02-46B90581BD90}"/>
              </a:ext>
            </a:extLst>
          </p:cNvPr>
          <p:cNvSpPr txBox="1"/>
          <p:nvPr/>
        </p:nvSpPr>
        <p:spPr>
          <a:xfrm>
            <a:off x="609600" y="4650154"/>
            <a:ext cx="508781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/>
              <a:t>Open Forum</a:t>
            </a:r>
          </a:p>
        </p:txBody>
      </p:sp>
    </p:spTree>
    <p:extLst>
      <p:ext uri="{BB962C8B-B14F-4D97-AF65-F5344CB8AC3E}">
        <p14:creationId xmlns:p14="http://schemas.microsoft.com/office/powerpoint/2010/main" val="203003821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2356A1-11D8-103E-69B5-EEB735A8D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y Sign-Off Recor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1BB70-B5AF-D44C-18A6-2C7D54C5EF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91139"/>
            <a:ext cx="7668097" cy="4592804"/>
          </a:xfrm>
        </p:spPr>
        <p:txBody>
          <a:bodyPr numCol="2"/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/>
              <a:t>_____________________</a:t>
            </a:r>
          </a:p>
        </p:txBody>
      </p:sp>
    </p:spTree>
    <p:extLst>
      <p:ext uri="{BB962C8B-B14F-4D97-AF65-F5344CB8AC3E}">
        <p14:creationId xmlns:p14="http://schemas.microsoft.com/office/powerpoint/2010/main" val="3554689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163C35-1807-026E-B0F5-C661ED5B09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EBB269-C189-0C61-B6E9-CC36DD42D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ractor Share – Cementation</a:t>
            </a:r>
            <a:br>
              <a:rPr lang="en-US"/>
            </a:br>
            <a:r>
              <a:rPr lang="en-US"/>
              <a:t>Fatal/Critical Risk Management - FI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BB05F5-7FB7-497C-78B5-4CA88D44BD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  <a:p>
            <a:r>
              <a:rPr lang="en-US"/>
              <a:t>Preventative Controls? </a:t>
            </a:r>
          </a:p>
          <a:p>
            <a:endParaRPr lang="en-US"/>
          </a:p>
          <a:p>
            <a:r>
              <a:rPr lang="en-US"/>
              <a:t>Reactive Controls? </a:t>
            </a:r>
          </a:p>
          <a:p>
            <a:endParaRPr lang="en-US"/>
          </a:p>
          <a:p>
            <a:r>
              <a:rPr lang="en-US"/>
              <a:t>Which are more important? </a:t>
            </a:r>
          </a:p>
          <a:p>
            <a:endParaRPr lang="en-US"/>
          </a:p>
          <a:p>
            <a:r>
              <a:rPr lang="en-US"/>
              <a:t>Why? </a:t>
            </a:r>
          </a:p>
          <a:p>
            <a:endParaRPr lang="en-US"/>
          </a:p>
          <a:p>
            <a:r>
              <a:rPr lang="en-US"/>
              <a:t>Challenge:  Evaluate your work area.  Are your escape routes/exits marked well enough to follow signs to safety? </a:t>
            </a:r>
          </a:p>
          <a:p>
            <a:pPr lvl="1"/>
            <a:r>
              <a:rPr lang="en-US"/>
              <a:t>(?Ask someone unfamiliar with the area to find their way out?)</a:t>
            </a:r>
          </a:p>
          <a:p>
            <a:pPr lvl="1"/>
            <a:r>
              <a:rPr lang="en-US"/>
              <a:t>Add signage as needed!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0013" y="2187297"/>
            <a:ext cx="1776429" cy="152454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0581" y="2187297"/>
            <a:ext cx="1657116" cy="1524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625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A60BBB-E057-F0A9-EAD4-3A56884478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B19876-F2A6-AE9F-65E6-59B02FE37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7059035" cy="607555"/>
          </a:xfrm>
        </p:spPr>
        <p:txBody>
          <a:bodyPr/>
          <a:lstStyle/>
          <a:p>
            <a:r>
              <a:rPr lang="en-US" dirty="0"/>
              <a:t>Safety Topic – Wildfire Awareness 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ADD61D-C9A7-E613-99C3-9EBCEC36C0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CFB3DF-93B7-E623-1818-50FB8F7943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0986" y="1249942"/>
            <a:ext cx="6495150" cy="560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197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D02C9B-176B-6A81-6E16-6EB537815E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D6AB4-F231-5546-5724-297333ABDE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7059035" cy="607555"/>
          </a:xfrm>
        </p:spPr>
        <p:txBody>
          <a:bodyPr/>
          <a:lstStyle/>
          <a:p>
            <a:r>
              <a:rPr lang="en-US" dirty="0"/>
              <a:t>Safety Topic – Wildfire Awareness 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4CFFD6-CBD8-86C7-604F-CEA84CBBB8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9ABED8-65EA-569B-B078-B3C92F7EF5C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56596"/>
          <a:stretch/>
        </p:blipFill>
        <p:spPr>
          <a:xfrm>
            <a:off x="0" y="1519519"/>
            <a:ext cx="9144000" cy="4590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0440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403909-88ED-C362-7D27-24A2FD368B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7EFFA5-646A-FA80-479C-DA55F513B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7059035" cy="607555"/>
          </a:xfrm>
        </p:spPr>
        <p:txBody>
          <a:bodyPr/>
          <a:lstStyle/>
          <a:p>
            <a:r>
              <a:rPr lang="en-US" dirty="0"/>
              <a:t>Safety Topic – Wildfire Awareness 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A68CBB-8E35-8EFE-E73E-5DCC414764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1DFBEA-8AA4-48B4-F607-14D0088CC88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44195" b="10904"/>
          <a:stretch/>
        </p:blipFill>
        <p:spPr>
          <a:xfrm>
            <a:off x="0" y="1542289"/>
            <a:ext cx="9144000" cy="4748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677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E9D452-73F1-7856-D684-C592986AA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475C2E-6FB7-DBC4-BECA-FF5F257B37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7059035" cy="607555"/>
          </a:xfrm>
        </p:spPr>
        <p:txBody>
          <a:bodyPr/>
          <a:lstStyle/>
          <a:p>
            <a:r>
              <a:rPr lang="en-US" dirty="0"/>
              <a:t>Safety Topic – Lightning Alert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CB722D-792B-0C96-ED9E-82F2B1E035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086" y="1312221"/>
            <a:ext cx="7513983" cy="5109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287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9374CE-D780-816C-7656-16530150CB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F8158-3DFC-ED68-0EE1-1C938FC1A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7059035" cy="607555"/>
          </a:xfrm>
        </p:spPr>
        <p:txBody>
          <a:bodyPr/>
          <a:lstStyle/>
          <a:p>
            <a:r>
              <a:rPr lang="en-US" dirty="0"/>
              <a:t>Safety Topic – Lightning Alerts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204356-94B3-E901-291D-19398E87DD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25797"/>
            <a:ext cx="9144000" cy="47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277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THE VALUE OF COPPER 2024">
      <a:dk1>
        <a:srgbClr val="000000"/>
      </a:dk1>
      <a:lt1>
        <a:srgbClr val="FFFFFF"/>
      </a:lt1>
      <a:dk2>
        <a:srgbClr val="8D6E59"/>
      </a:dk2>
      <a:lt2>
        <a:srgbClr val="FDF1DF"/>
      </a:lt2>
      <a:accent1>
        <a:srgbClr val="D34727"/>
      </a:accent1>
      <a:accent2>
        <a:srgbClr val="E18332"/>
      </a:accent2>
      <a:accent3>
        <a:srgbClr val="FFC743"/>
      </a:accent3>
      <a:accent4>
        <a:srgbClr val="8F133C"/>
      </a:accent4>
      <a:accent5>
        <a:srgbClr val="88BA00"/>
      </a:accent5>
      <a:accent6>
        <a:srgbClr val="0088BA"/>
      </a:accent6>
      <a:hlink>
        <a:srgbClr val="27B3D3"/>
      </a:hlink>
      <a:folHlink>
        <a:srgbClr val="8D6E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 Freeport Template Widescreen" id="{F1BF0343-AA40-4D0F-81D0-A8C7B0B0C98B}" vid="{C2F6BB4B-5050-4C8E-9AEA-95C7F868BF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owering Progress 2025">
    <a:dk1>
      <a:srgbClr val="092033"/>
    </a:dk1>
    <a:lt1>
      <a:sysClr val="window" lastClr="FFFFFF"/>
    </a:lt1>
    <a:dk2>
      <a:srgbClr val="718CA6"/>
    </a:dk2>
    <a:lt2>
      <a:srgbClr val="E7E6E6"/>
    </a:lt2>
    <a:accent1>
      <a:srgbClr val="005DA8"/>
    </a:accent1>
    <a:accent2>
      <a:srgbClr val="F6961D"/>
    </a:accent2>
    <a:accent3>
      <a:srgbClr val="A5A5A5"/>
    </a:accent3>
    <a:accent4>
      <a:srgbClr val="FFC000"/>
    </a:accent4>
    <a:accent5>
      <a:srgbClr val="79D9FF"/>
    </a:accent5>
    <a:accent6>
      <a:srgbClr val="006C3C"/>
    </a:accent6>
    <a:hlink>
      <a:srgbClr val="C9550D"/>
    </a:hlink>
    <a:folHlink>
      <a:srgbClr val="C9550D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M_x0020_Ent_x0020_TaxonomyTaxHTField0 xmlns="b5ba0a33-b247-4d4b-b9ae-c709af684fd3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al</TermName>
          <TermId xmlns="http://schemas.microsoft.com/office/infopath/2007/PartnerControls">78012a07-bc17-42a8-9dfa-203d907fea28</TermId>
        </TermInfo>
      </Terms>
    </FM_x0020_Ent_x0020_TaxonomyTaxHTField0>
    <o79fb0eb13274969baa8945b2a62dcda xmlns="b5ba0a33-b247-4d4b-b9ae-c709af684fd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dministration</TermName>
          <TermId xmlns="http://schemas.microsoft.com/office/infopath/2007/PartnerControls">5648ecb6-843d-42d8-8ec5-901cd2d614fb</TermId>
        </TermInfo>
      </Terms>
    </o79fb0eb13274969baa8945b2a62dcda>
    <TaxCatchAll xmlns="b5ba0a33-b247-4d4b-b9ae-c709af684fd3">
      <Value>4</Value>
      <Value>1</Value>
      <Value>7</Value>
    </TaxCatchAll>
    <FM_x0020_Doc_x0020_TypeTaxHTField0 xmlns="b5ba0a33-b247-4d4b-b9ae-c709af684fd3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</TermName>
          <TermId xmlns="http://schemas.microsoft.com/office/infopath/2007/PartnerControls">ab0814dc-ad79-4add-a59b-e4976d8b9098</TermId>
        </TermInfo>
      </Terms>
    </FM_x0020_Doc_x0020_TypeTaxHTField0>
    <FM_x0020_LOC xmlns="b5ba0a33-b247-4d4b-b9ae-c709af684fd3" xsi:nil="true"/>
    <FM_x0020_DPT xmlns="b5ba0a33-b247-4d4b-b9ae-c709af684fd3">Administration</FM_x0020_DPT>
    <Site xmlns="1c8c09b6-704d-411a-b466-b4564be81472">Climax Molybdenum</Sit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FM Document" ma:contentTypeID="0x01010046829DE55437B147B48D1766376E3D6B00B88FBAAEE5C20C4C9D69FB6CE39CD566" ma:contentTypeVersion="6" ma:contentTypeDescription="Document Content Type" ma:contentTypeScope="" ma:versionID="54fdcedd32f92a76818fefc43cd56ac1">
  <xsd:schema xmlns:xsd="http://www.w3.org/2001/XMLSchema" xmlns:xs="http://www.w3.org/2001/XMLSchema" xmlns:p="http://schemas.microsoft.com/office/2006/metadata/properties" xmlns:ns2="b5ba0a33-b247-4d4b-b9ae-c709af684fd3" xmlns:ns3="1c8c09b6-704d-411a-b466-b4564be81472" targetNamespace="http://schemas.microsoft.com/office/2006/metadata/properties" ma:root="true" ma:fieldsID="88fa9e2658bc9e7bdcc35ac4495747b1" ns2:_="" ns3:_="">
    <xsd:import namespace="b5ba0a33-b247-4d4b-b9ae-c709af684fd3"/>
    <xsd:import namespace="1c8c09b6-704d-411a-b466-b4564be81472"/>
    <xsd:element name="properties">
      <xsd:complexType>
        <xsd:sequence>
          <xsd:element name="documentManagement">
            <xsd:complexType>
              <xsd:all>
                <xsd:element ref="ns2:o79fb0eb13274969baa8945b2a62dcda" minOccurs="0"/>
                <xsd:element ref="ns2:TaxCatchAll" minOccurs="0"/>
                <xsd:element ref="ns2:TaxCatchAllLabel" minOccurs="0"/>
                <xsd:element ref="ns2:FM_x0020_Ent_x0020_TaxonomyTaxHTField0" minOccurs="0"/>
                <xsd:element ref="ns2:FM_x0020_Doc_x0020_TypeTaxHTField0" minOccurs="0"/>
                <xsd:element ref="ns2:FM_x0020_DPT" minOccurs="0"/>
                <xsd:element ref="ns2:FM_x0020_LOC" minOccurs="0"/>
                <xsd:element ref="ns3:Si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ba0a33-b247-4d4b-b9ae-c709af684fd3" elementFormDefault="qualified">
    <xsd:import namespace="http://schemas.microsoft.com/office/2006/documentManagement/types"/>
    <xsd:import namespace="http://schemas.microsoft.com/office/infopath/2007/PartnerControls"/>
    <xsd:element name="o79fb0eb13274969baa8945b2a62dcda" ma:index="8" ma:taxonomy="true" ma:internalName="o79fb0eb13274969baa8945b2a62dcda" ma:taxonomyFieldName="FM_x0020_Retention_x0020_Category" ma:displayName="FM Retention Category" ma:readOnly="false" ma:default="3;#Community Relations - General|96e133fb-aecf-4fc7-91a1-5dcc9f35a869" ma:fieldId="{879fb0eb-1327-4969-baa8-945b2a62dcda}" ma:sspId="b7e16863-b940-4291-96f8-ad8461baff96" ma:termSetId="3287f003-fa19-4de9-9d01-e5aef60515f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27ec2217-e374-4c6f-b3e4-ba39a28ba7e3}" ma:internalName="TaxCatchAll" ma:showField="CatchAllData" ma:web="8a0634ce-b61f-46f1-9480-72c1833a65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27ec2217-e374-4c6f-b3e4-ba39a28ba7e3}" ma:internalName="TaxCatchAllLabel" ma:readOnly="true" ma:showField="CatchAllDataLabel" ma:web="8a0634ce-b61f-46f1-9480-72c1833a65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M_x0020_Ent_x0020_TaxonomyTaxHTField0" ma:index="12" nillable="true" ma:taxonomy="true" ma:internalName="FM_x0020_Ent_x0020_TaxonomyTaxHTField0" ma:taxonomyFieldName="FM_x0020_Ent_x0020_Taxonomy" ma:displayName="FM Business Process" ma:readOnly="false" ma:default="" ma:fieldId="{b40ec4b2-9645-411d-a03c-9e8ab0f1f2d4}" ma:sspId="b7e16863-b940-4291-96f8-ad8461baff96" ma:termSetId="3d1ce9c8-a01a-4b28-93f4-bc23cae590f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M_x0020_Doc_x0020_TypeTaxHTField0" ma:index="14" nillable="true" ma:taxonomy="true" ma:internalName="FM_x0020_Doc_x0020_TypeTaxHTField0" ma:taxonomyFieldName="FM_x0020_Doc_x0020_Type" ma:displayName="FM Doc Type" ma:readOnly="false" ma:default="" ma:fieldId="{bfb78ee2-975a-4f84-839c-ed91d42d4105}" ma:sspId="b7e16863-b940-4291-96f8-ad8461baff96" ma:termSetId="af82bb66-37d5-47da-967c-ea1eda9481c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M_x0020_DPT" ma:index="16" nillable="true" ma:displayName="FM DPT" ma:description="This column is used to assign FMI Department" ma:format="Dropdown" ma:hidden="true" ma:internalName="FM_x0020_DPT" ma:readOnly="false">
      <xsd:simpleType>
        <xsd:restriction base="dms:Choice">
          <xsd:enumeration value="Accounts Payable"/>
          <xsd:enumeration value="Administration"/>
          <xsd:enumeration value="Climax Moly Company"/>
          <xsd:enumeration value="Communications"/>
          <xsd:enumeration value="Community / Administrative Services"/>
          <xsd:enumeration value="Community Relations/Social Resp"/>
          <xsd:enumeration value="Corporate Communications"/>
          <xsd:enumeration value="Custom Applications"/>
          <xsd:enumeration value="Environmental / Sustainable Development"/>
          <xsd:enumeration value="Exploration"/>
          <xsd:enumeration value="Exploration / Geology"/>
          <xsd:enumeration value="External Communications"/>
          <xsd:enumeration value="Finance"/>
          <xsd:enumeration value="Finance / Accounting / Tax"/>
          <xsd:enumeration value="Financial Shared Services"/>
          <xsd:enumeration value="FM Africa"/>
          <xsd:enumeration value="FM Americas"/>
          <xsd:enumeration value="FM Mining Company"/>
          <xsd:enumeration value="Global Supply Chain"/>
          <xsd:enumeration value="GSC/ Purchasing/ Warehousing"/>
          <xsd:enumeration value="Health &amp; Safety"/>
          <xsd:enumeration value="Human Resources"/>
          <xsd:enumeration value="Legal / Govt Relations"/>
          <xsd:enumeration value="MIS"/>
          <xsd:enumeration value="Operational Improvement"/>
          <xsd:enumeration value="Operations"/>
          <xsd:enumeration value="Operations Smelting"/>
          <xsd:enumeration value="Ops Maintenance"/>
          <xsd:enumeration value="Sales &amp; Marketing"/>
          <xsd:enumeration value="Security"/>
          <xsd:enumeration value="Senior Management (Corp)"/>
          <xsd:enumeration value="Strategic Planning"/>
        </xsd:restriction>
      </xsd:simpleType>
    </xsd:element>
    <xsd:element name="FM_x0020_LOC" ma:index="17" nillable="true" ma:displayName="FM LOC" ma:description="This column is used to assign Location" ma:format="Dropdown" ma:hidden="true" ma:internalName="FM_x0020_LOC" ma:readOnly="false">
      <xsd:simpleType>
        <xsd:restriction base="dms:Choice">
          <xsd:enumeration value="Administrative &amp; Sales"/>
          <xsd:enumeration value="Africa"/>
          <xsd:enumeration value="Ajo"/>
          <xsd:enumeration value="Arequipa"/>
          <xsd:enumeration value="Asia Pacific"/>
          <xsd:enumeration value="Atlantic Copper (Huelva)"/>
          <xsd:enumeration value="Aurex"/>
          <xsd:enumeration value="Australia/Asia"/>
          <xsd:enumeration value="Bagdad"/>
          <xsd:enumeration value="Bayway"/>
          <xsd:enumeration value="Bisbee"/>
          <xsd:enumeration value="Cairns"/>
          <xsd:enumeration value="Candelaria"/>
          <xsd:enumeration value="Central Analytical Service Center"/>
          <xsd:enumeration value="Cerro Verde"/>
          <xsd:enumeration value="Chino"/>
          <xsd:enumeration value="Climax"/>
          <xsd:enumeration value="Climax Technology Center"/>
          <xsd:enumeration value="Cobre"/>
          <xsd:enumeration value="Colorado Data Center"/>
          <xsd:enumeration value="Cotton Center"/>
          <xsd:enumeration value="Data Center"/>
          <xsd:enumeration value="El Abra"/>
          <xsd:enumeration value="El Paso"/>
          <xsd:enumeration value="El Paso Refinery"/>
          <xsd:enumeration value="El Paso Rod"/>
          <xsd:enumeration value="Europe"/>
          <xsd:enumeration value="FMC"/>
          <xsd:enumeration value="Ft Madison"/>
          <xsd:enumeration value="Global"/>
          <xsd:enumeration value="Henderson"/>
          <xsd:enumeration value="Houston"/>
          <xsd:enumeration value="Huelva"/>
          <xsd:enumeration value="Jakarta"/>
          <xsd:enumeration value="Jerome"/>
          <xsd:enumeration value="Johannesburg"/>
          <xsd:enumeration value="Kinetics"/>
          <xsd:enumeration value="Kisanfu"/>
          <xsd:enumeration value="Kokkola"/>
          <xsd:enumeration value="Lafayette"/>
          <xsd:enumeration value="Lubumbashi"/>
          <xsd:enumeration value="Madrid"/>
          <xsd:enumeration value="Miami"/>
          <xsd:enumeration value="Miami Rod"/>
          <xsd:enumeration value="Miami Smelter"/>
          <xsd:enumeration value="Mine Training Institute"/>
          <xsd:enumeration value="Mining"/>
          <xsd:enumeration value="Morenci"/>
          <xsd:enumeration value="New Mexico"/>
          <xsd:enumeration value="NOLA"/>
          <xsd:enumeration value="North America"/>
          <xsd:enumeration value="Norwich"/>
          <xsd:enumeration value="Oil &amp; Gas"/>
          <xsd:enumeration value="Ojos del Salado"/>
          <xsd:enumeration value="Oro Valley"/>
          <xsd:enumeration value="Phoenix"/>
          <xsd:enumeration value="Processing"/>
          <xsd:enumeration value="PTFI"/>
          <xsd:enumeration value="Research &amp; Development"/>
          <xsd:enumeration value="Rotterdam"/>
          <xsd:enumeration value="Safford"/>
          <xsd:enumeration value="Safford Lab"/>
          <xsd:enumeration value="Safford Mine"/>
          <xsd:enumeration value="Sahuarita"/>
          <xsd:enumeration value="Sanchez"/>
          <xsd:enumeration value="Santiago Data Center"/>
          <xsd:enumeration value="Santiago"/>
          <xsd:enumeration value="Shanghai"/>
          <xsd:enumeration value="Sierrita"/>
          <xsd:enumeration value="Singapore"/>
          <xsd:enumeration value="South America"/>
          <xsd:enumeration value="Stowmarket"/>
          <xsd:enumeration value="Technology Center"/>
          <xsd:enumeration value="Tenke Fungurume"/>
          <xsd:enumeration value="Tohono"/>
          <xsd:enumeration value="Tokyo"/>
          <xsd:enumeration value="Tucson Office"/>
          <xsd:enumeration value="Twin Buttes"/>
          <xsd:enumeration value="Tyron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8c09b6-704d-411a-b466-b4564be81472" elementFormDefault="qualified">
    <xsd:import namespace="http://schemas.microsoft.com/office/2006/documentManagement/types"/>
    <xsd:import namespace="http://schemas.microsoft.com/office/infopath/2007/PartnerControls"/>
    <xsd:element name="Site" ma:index="18" nillable="true" ma:displayName="Site" ma:internalName="Sit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b7e16863-b940-4291-96f8-ad8461baff96" ContentTypeId="0x01010046829DE55437B147B48D1766376E3D6B" PreviousValue="false"/>
</file>

<file path=customXml/itemProps1.xml><?xml version="1.0" encoding="utf-8"?>
<ds:datastoreItem xmlns:ds="http://schemas.openxmlformats.org/officeDocument/2006/customXml" ds:itemID="{16EF08CE-F0D8-4F60-914A-EB8892FBFAD8}">
  <ds:schemaRefs>
    <ds:schemaRef ds:uri="1c8c09b6-704d-411a-b466-b4564be81472"/>
    <ds:schemaRef ds:uri="b5ba0a33-b247-4d4b-b9ae-c709af684f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75B653F-27A7-4C09-A3A1-CB70A27EFB5B}">
  <ds:schemaRefs>
    <ds:schemaRef ds:uri="1c8c09b6-704d-411a-b466-b4564be81472"/>
    <ds:schemaRef ds:uri="b5ba0a33-b247-4d4b-b9ae-c709af684f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9352AF1-5230-4CC1-89FF-1F16987DBC2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A6C0FA3-8ED0-4147-86DC-5E490260DA09}">
  <ds:schemaRefs>
    <ds:schemaRef ds:uri="Microsoft.SharePoint.Taxonomy.ContentTypeSync"/>
  </ds:schemaRefs>
</ds:datastoreItem>
</file>

<file path=docMetadata/LabelInfo.xml><?xml version="1.0" encoding="utf-8"?>
<clbl:labelList xmlns:clbl="http://schemas.microsoft.com/office/2020/mipLabelMetadata">
  <clbl:label id="{56f8a036-ae1b-4f85-92d3-f4203c03c43b}" enabled="1" method="Standard" siteId="{5f229ce1-773c-46ed-a6fa-974006fae09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510</Words>
  <Application>Microsoft Office PowerPoint</Application>
  <PresentationFormat>On-screen Show (4:3)</PresentationFormat>
  <Paragraphs>131</Paragraphs>
  <Slides>3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-apple-system</vt:lpstr>
      <vt:lpstr>Arial</vt:lpstr>
      <vt:lpstr>Calibri</vt:lpstr>
      <vt:lpstr>Courier New</vt:lpstr>
      <vt:lpstr>1_Office Theme</vt:lpstr>
      <vt:lpstr>think-cell Slide</vt:lpstr>
      <vt:lpstr>Acrobat Document</vt:lpstr>
      <vt:lpstr>PowerPoint Presentation</vt:lpstr>
      <vt:lpstr>What is this Meeting?</vt:lpstr>
      <vt:lpstr>Contractor Share – Cementation Management of Change</vt:lpstr>
      <vt:lpstr>Contractor Share – Cementation Fatal/Critical Risk Management - FIRE</vt:lpstr>
      <vt:lpstr>Safety Topic – Wildfire Awareness  </vt:lpstr>
      <vt:lpstr>Safety Topic – Wildfire Awareness  </vt:lpstr>
      <vt:lpstr>Safety Topic – Wildfire Awareness  </vt:lpstr>
      <vt:lpstr>Safety Topic – Lightning Alerts </vt:lpstr>
      <vt:lpstr>Safety Topic – Lightning Alerts </vt:lpstr>
      <vt:lpstr>Environmental Topic – “Hard to Recycle” Events and Town Cleanup Days</vt:lpstr>
      <vt:lpstr>Fatal Events</vt:lpstr>
      <vt:lpstr>Fatal Events</vt:lpstr>
      <vt:lpstr>Potential Fatal Events (PFE)</vt:lpstr>
      <vt:lpstr>Potential Fatal Events (PFE)</vt:lpstr>
      <vt:lpstr>High Risk/Actionable Events</vt:lpstr>
      <vt:lpstr>High Risk/Actionable Events</vt:lpstr>
      <vt:lpstr>High Risk/Actionable Events</vt:lpstr>
      <vt:lpstr>High Risk/Actionable Events</vt:lpstr>
      <vt:lpstr>High Risk/Actionable Events</vt:lpstr>
      <vt:lpstr>MSHA Safety Alerts</vt:lpstr>
      <vt:lpstr>MSHA Safety Alerts</vt:lpstr>
      <vt:lpstr>MSHA Fatality Alerts</vt:lpstr>
      <vt:lpstr>MSHA Fatality Alerts</vt:lpstr>
      <vt:lpstr>Henderson Incidents – </vt:lpstr>
      <vt:lpstr>Henderson FRM Audit Results</vt:lpstr>
      <vt:lpstr>Henderson Training Schedule</vt:lpstr>
      <vt:lpstr>Henderson Training Schedule</vt:lpstr>
      <vt:lpstr>Contractor Management Topic – Hours Reporting and Contractor Badges</vt:lpstr>
      <vt:lpstr>Contractor Management Topic – EWS Access</vt:lpstr>
      <vt:lpstr>2025 Contractor Meeting Schedule</vt:lpstr>
      <vt:lpstr>PowerPoint Presentation</vt:lpstr>
      <vt:lpstr>May Sign-Off Recor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lley, Kathy</dc:creator>
  <cp:lastModifiedBy>Goertz, Benjamin</cp:lastModifiedBy>
  <cp:revision>1</cp:revision>
  <dcterms:created xsi:type="dcterms:W3CDTF">2022-01-20T21:24:06Z</dcterms:created>
  <dcterms:modified xsi:type="dcterms:W3CDTF">2025-05-21T19:4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M Doc Type">
    <vt:lpwstr>1;#Communication|ab0814dc-ad79-4add-a59b-e4976d8b9098</vt:lpwstr>
  </property>
  <property fmtid="{D5CDD505-2E9C-101B-9397-08002B2CF9AE}" pid="3" name="FM Retention Category">
    <vt:lpwstr>4;#Administration|5648ecb6-843d-42d8-8ec5-901cd2d614fb</vt:lpwstr>
  </property>
  <property fmtid="{D5CDD505-2E9C-101B-9397-08002B2CF9AE}" pid="4" name="ContentTypeId">
    <vt:lpwstr>0x01010046829DE55437B147B48D1766376E3D6B00B88FBAAEE5C20C4C9D69FB6CE39CD566</vt:lpwstr>
  </property>
  <property fmtid="{D5CDD505-2E9C-101B-9397-08002B2CF9AE}" pid="5" name="FM Ent Taxonomy">
    <vt:lpwstr>7;#Internal|78012a07-bc17-42a8-9dfa-203d907fea28</vt:lpwstr>
  </property>
  <property fmtid="{D5CDD505-2E9C-101B-9397-08002B2CF9AE}" pid="6" name="MSIP_Label_56f8a036-ae1b-4f85-92d3-f4203c03c43b_Enabled">
    <vt:lpwstr>true</vt:lpwstr>
  </property>
  <property fmtid="{D5CDD505-2E9C-101B-9397-08002B2CF9AE}" pid="7" name="MSIP_Label_56f8a036-ae1b-4f85-92d3-f4203c03c43b_SetDate">
    <vt:lpwstr>2022-05-03T17:30:49Z</vt:lpwstr>
  </property>
  <property fmtid="{D5CDD505-2E9C-101B-9397-08002B2CF9AE}" pid="8" name="MSIP_Label_56f8a036-ae1b-4f85-92d3-f4203c03c43b_Method">
    <vt:lpwstr>Standard</vt:lpwstr>
  </property>
  <property fmtid="{D5CDD505-2E9C-101B-9397-08002B2CF9AE}" pid="9" name="MSIP_Label_56f8a036-ae1b-4f85-92d3-f4203c03c43b_Name">
    <vt:lpwstr>56f8a036-ae1b-4f85-92d3-f4203c03c43b</vt:lpwstr>
  </property>
  <property fmtid="{D5CDD505-2E9C-101B-9397-08002B2CF9AE}" pid="10" name="MSIP_Label_56f8a036-ae1b-4f85-92d3-f4203c03c43b_SiteId">
    <vt:lpwstr>5f229ce1-773c-46ed-a6fa-974006fae097</vt:lpwstr>
  </property>
  <property fmtid="{D5CDD505-2E9C-101B-9397-08002B2CF9AE}" pid="11" name="MSIP_Label_56f8a036-ae1b-4f85-92d3-f4203c03c43b_ActionId">
    <vt:lpwstr>af53359f-22df-434c-a1dd-50aa34f91eb0</vt:lpwstr>
  </property>
  <property fmtid="{D5CDD505-2E9C-101B-9397-08002B2CF9AE}" pid="12" name="MSIP_Label_56f8a036-ae1b-4f85-92d3-f4203c03c43b_ContentBits">
    <vt:lpwstr>0</vt:lpwstr>
  </property>
  <property fmtid="{D5CDD505-2E9C-101B-9397-08002B2CF9AE}" pid="13" name="MediaServiceImageTags">
    <vt:lpwstr/>
  </property>
  <property fmtid="{D5CDD505-2E9C-101B-9397-08002B2CF9AE}" pid="14" name="lcf76f155ced4ddcb4097134ff3c332f">
    <vt:lpwstr/>
  </property>
  <property fmtid="{D5CDD505-2E9C-101B-9397-08002B2CF9AE}" pid="15" name="Order">
    <vt:r8>1994800</vt:r8>
  </property>
  <property fmtid="{D5CDD505-2E9C-101B-9397-08002B2CF9AE}" pid="16" name="SharedWithUsers">
    <vt:lpwstr/>
  </property>
  <property fmtid="{D5CDD505-2E9C-101B-9397-08002B2CF9AE}" pid="17" name="ComplianceAssetId">
    <vt:lpwstr/>
  </property>
  <property fmtid="{D5CDD505-2E9C-101B-9397-08002B2CF9AE}" pid="18" name="_ExtendedDescription">
    <vt:lpwstr/>
  </property>
  <property fmtid="{D5CDD505-2E9C-101B-9397-08002B2CF9AE}" pid="19" name="TriggerFlowInfo">
    <vt:lpwstr/>
  </property>
  <property fmtid="{D5CDD505-2E9C-101B-9397-08002B2CF9AE}" pid="20" name="FM_x0020_Ent_x0020_Taxonomy">
    <vt:lpwstr>7;#Internal|78012a07-bc17-42a8-9dfa-203d907fea28</vt:lpwstr>
  </property>
  <property fmtid="{D5CDD505-2E9C-101B-9397-08002B2CF9AE}" pid="21" name="FM_x0020_Doc_x0020_Type">
    <vt:lpwstr>1;#Communication|ab0814dc-ad79-4add-a59b-e4976d8b9098</vt:lpwstr>
  </property>
  <property fmtid="{D5CDD505-2E9C-101B-9397-08002B2CF9AE}" pid="22" name="FM_x0020_Retention_x0020_Category">
    <vt:lpwstr>4;#Administration|5648ecb6-843d-42d8-8ec5-901cd2d614fb</vt:lpwstr>
  </property>
</Properties>
</file>